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6" r:id="rId1"/>
    <p:sldMasterId id="2147487382" r:id="rId2"/>
  </p:sldMasterIdLst>
  <p:notesMasterIdLst>
    <p:notesMasterId r:id="rId43"/>
  </p:notesMasterIdLst>
  <p:sldIdLst>
    <p:sldId id="280" r:id="rId3"/>
    <p:sldId id="283" r:id="rId4"/>
    <p:sldId id="804" r:id="rId5"/>
    <p:sldId id="712" r:id="rId6"/>
    <p:sldId id="713" r:id="rId7"/>
    <p:sldId id="751" r:id="rId8"/>
    <p:sldId id="763" r:id="rId9"/>
    <p:sldId id="762" r:id="rId10"/>
    <p:sldId id="761" r:id="rId11"/>
    <p:sldId id="758" r:id="rId12"/>
    <p:sldId id="759" r:id="rId13"/>
    <p:sldId id="760" r:id="rId14"/>
    <p:sldId id="752" r:id="rId15"/>
    <p:sldId id="702" r:id="rId16"/>
    <p:sldId id="779" r:id="rId17"/>
    <p:sldId id="786" r:id="rId18"/>
    <p:sldId id="775" r:id="rId19"/>
    <p:sldId id="771" r:id="rId20"/>
    <p:sldId id="776" r:id="rId21"/>
    <p:sldId id="778" r:id="rId22"/>
    <p:sldId id="777" r:id="rId23"/>
    <p:sldId id="774" r:id="rId24"/>
    <p:sldId id="769" r:id="rId25"/>
    <p:sldId id="780" r:id="rId26"/>
    <p:sldId id="768" r:id="rId27"/>
    <p:sldId id="783" r:id="rId28"/>
    <p:sldId id="767" r:id="rId29"/>
    <p:sldId id="781" r:id="rId30"/>
    <p:sldId id="766" r:id="rId31"/>
    <p:sldId id="782" r:id="rId32"/>
    <p:sldId id="787" r:id="rId33"/>
    <p:sldId id="765" r:id="rId34"/>
    <p:sldId id="772" r:id="rId35"/>
    <p:sldId id="785" r:id="rId36"/>
    <p:sldId id="562" r:id="rId37"/>
    <p:sldId id="690" r:id="rId38"/>
    <p:sldId id="736" r:id="rId39"/>
    <p:sldId id="773" r:id="rId40"/>
    <p:sldId id="750" r:id="rId41"/>
    <p:sldId id="32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C5E8FD3E-DBE1-911B-42BB-476104B578AF}" name="Daniel L Weiss" initials="DW" userId="S::dlw2885@ads.northwestern.edu::9eb720c2-52d8-4896-8792-48826e9f92f5" providerId="AD"/>
  <p188:author id="{0B48CC40-4357-5959-C41E-8F630855A478}" name="Aleena Lida Surenian" initials="AS" userId="S::als0813@ads.northwestern.edu::e2fd0e4e-6417-49b0-ab16-0ba26a1719f0" providerId="AD"/>
  <p188:author id="{65A64FCD-321F-D00C-6F0D-39389F913B93}" name="Isabel Rose Gippo" initials="" userId="S::irg9370@ads.northwestern.edu::b10bfe7e-55b9-46dd-9add-2eb52cb66d3b"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B03D"/>
    <a:srgbClr val="000000"/>
    <a:srgbClr val="FDEAEE"/>
    <a:srgbClr val="E7E9EE"/>
    <a:srgbClr val="F5668F"/>
    <a:srgbClr val="7030A0"/>
    <a:srgbClr val="D47FA1"/>
    <a:srgbClr val="4AB1B4"/>
    <a:srgbClr val="F9C0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08D60B-BCCB-FC71-A764-6DA2F3D1F847}" v="819" dt="2024-01-08T20:28:16.880"/>
    <p1510:client id="{0341ED96-5143-9562-5248-833DF36573A1}" v="1" dt="2023-10-23T23:48:58.023"/>
    <p1510:client id="{11980D98-74D1-71E7-E86A-19E64303BD27}" v="153" dt="2023-10-30T16:12:53.918"/>
    <p1510:client id="{1D788AEF-8DA4-9FDC-F8F6-781996136A25}" v="1" dt="2023-11-20T17:20:03.301"/>
    <p1510:client id="{22D2D811-4E65-4C88-896C-E87684E0524E}" v="158" dt="2023-10-27T19:12:45.418"/>
    <p1510:client id="{27D417B1-AC1D-5613-774C-09BCD51B442A}" v="182" dt="2023-11-20T15:57:10.100"/>
    <p1510:client id="{2D3E1CBF-0F08-92B9-6543-9FE5E77E56E9}" v="418" dt="2023-10-28T14:57:28.029"/>
    <p1510:client id="{2F9B0802-2085-E0B0-3887-F6AEBA41C785}" v="19" dt="2023-10-27T20:01:53.166"/>
    <p1510:client id="{300BD813-CD9C-8649-0637-C0ACE24151DD}" v="50" dt="2023-10-26T17:23:46.185"/>
    <p1510:client id="{305AC9D0-E55A-2A1E-F2E7-EBEA3644D9AC}" v="84" dt="2023-10-24T16:00:52.345"/>
    <p1510:client id="{316D5976-A92B-4DA1-B7A8-34F7AEF9B15D}" v="4" dt="2023-10-25T16:12:34.060"/>
    <p1510:client id="{35DF06BD-25AA-054F-4D8F-840FED1FA1E6}" v="4" dt="2023-10-31T02:20:39.446"/>
    <p1510:client id="{36AFF060-5319-E6D5-0957-513AFAA6A2E5}" v="48" dt="2023-10-24T18:55:21.243"/>
    <p1510:client id="{3A3E4FEE-6F9B-7EC3-B167-3C31BBE96824}" v="665" dt="2023-10-31T16:46:24.892"/>
    <p1510:client id="{3E81E0CF-E582-4D57-5132-0B6C13973CF0}" v="394" dt="2023-12-28T20:48:20.239"/>
    <p1510:client id="{4159E2D1-1878-F778-C779-F53B58D257B9}" v="40" dt="2023-10-27T17:39:07.217"/>
    <p1510:client id="{4F909934-BF80-9406-F823-1BE12A003AA4}" v="15" dt="2023-11-20T15:22:24.918"/>
    <p1510:client id="{524F6783-CF9C-A7C1-D142-27E8864BC3CB}" v="52" dt="2023-10-24T02:49:43.199"/>
    <p1510:client id="{525C70A3-2AD6-57EA-9F7E-A6FC0841DEBD}" v="24" dt="2023-10-23T23:00:26.391"/>
    <p1510:client id="{5DC65600-F3C9-4205-B138-3708EB0A1C1D}" v="1" dt="2023-05-09T18:50:49.614"/>
    <p1510:client id="{61DCECB8-FCC4-463F-180A-DE94BEA715D4}" v="482" dt="2023-10-30T22:49:41.685"/>
    <p1510:client id="{6299E2EC-AA5F-793A-628C-EBCF8BF5D2B0}" v="2" dt="2023-11-20T14:40:33.879"/>
    <p1510:client id="{64CA3CFC-DFB9-4EB2-185A-94BBCF197F69}" v="12" dt="2023-10-31T18:53:06.815"/>
    <p1510:client id="{6E7D2AD5-DB8B-40D0-4266-03B609A243B6}" v="13" dt="2024-01-09T16:18:29.383"/>
    <p1510:client id="{6F4BA6F9-4A5A-3B13-85C3-6DB0B61CBC00}" v="2882" dt="2023-10-24T15:58:08.213"/>
    <p1510:client id="{782B053E-75E5-959C-8BAD-C5B3CB312E1F}" v="9" dt="2023-10-27T17:32:56.380"/>
    <p1510:client id="{8024C570-7E9A-022B-CE90-C0FD861720C1}" v="843" dt="2023-10-23T23:03:36.862"/>
    <p1510:client id="{8544FFE2-8133-585B-66CC-2C8177C23087}" v="372" dt="2023-11-18T01:37:30.204"/>
    <p1510:client id="{85CD7F39-8F26-7081-E17F-9CFE5E103D63}" v="54" dt="2023-10-24T19:03:39.508"/>
    <p1510:client id="{8E3BEBCA-AD6A-76DA-B8D3-33301DA82F27}" v="45" dt="2023-10-24T18:26:04.342"/>
    <p1510:client id="{8E54177A-FEA1-170D-0EA8-ABD6FF4ACD90}" v="42" dt="2023-10-30T19:44:29.502"/>
    <p1510:client id="{9570DE12-7482-A365-A3C2-E94E5026C97C}" v="21" dt="2023-11-17T16:55:40.336"/>
    <p1510:client id="{96B049F1-23A1-EFBD-700B-2889CC878206}" v="52" dt="2023-10-31T04:45:51.889"/>
    <p1510:client id="{9DE0ADE9-A0A8-D2EA-1EF2-AD3C089DDA7A}" v="252" dt="2023-10-19T17:41:58.437"/>
    <p1510:client id="{9EA480BD-2ABC-0E67-CCB3-672E9005EA21}" v="92" dt="2023-10-31T18:53:54.682"/>
    <p1510:client id="{AC5E249F-4AD8-EC7C-FB2F-902F01AC2000}" v="515" dt="2023-10-27T16:29:18.072"/>
    <p1510:client id="{AFE245F6-AF84-51BF-AB4C-88F7188B99E6}" v="85" dt="2023-10-31T20:15:08.574"/>
    <p1510:client id="{B4964270-B086-4309-6459-65EA28D1CB38}" v="3" dt="2023-10-26T06:44:01.652"/>
    <p1510:client id="{B6F32D0F-7EF8-C22A-D4AE-933B4E9674EC}" v="235" dt="2023-10-24T04:39:00.705"/>
    <p1510:client id="{BC047B72-8F18-01C2-FA60-A38A99380270}" v="753" dt="2023-10-31T04:33:13.284"/>
    <p1510:client id="{BFC87AA7-C8F9-9EFC-19DD-EB23F26608F3}" v="9" dt="2023-11-16T22:57:07.054"/>
    <p1510:client id="{C3552A06-5909-6D3B-9B48-7F6146D07F3D}" v="154" dt="2023-10-30T19:52:09.301"/>
    <p1510:client id="{C766F19B-0830-AB8B-3618-23EF0AC64A24}" v="68" dt="2023-10-30T15:49:33.394"/>
    <p1510:client id="{C93D31B3-2B8C-DAAF-7090-3A2197BCB065}" v="274" dt="2023-10-27T21:32:15.542"/>
    <p1510:client id="{D053432C-5284-0617-FAB1-59D94F6E44F4}" v="1150" dt="2024-01-11T22:40:38.385"/>
    <p1510:client id="{D1FD5983-AA3B-9DE6-CECC-8854B06948B5}" v="35" dt="2023-11-15T18:35:58.840"/>
    <p1510:client id="{DC570ED0-804E-A0E2-5D93-D510896DFB64}" v="865" dt="2023-10-24T14:25:12.957"/>
    <p1510:client id="{EEF5ACAF-3680-7262-A628-DF1FDA3B77FA}" v="4" dt="2023-12-11T13:04:46.745"/>
    <p1510:client id="{F448B036-0349-8976-DAC4-88BE6A4E488E}" v="457" dt="2023-11-20T05:00:10.909"/>
    <p1510:client id="{F9F8F9CD-504E-7117-C6BD-BB41440E79C4}" v="65" dt="2023-12-27T21:55:04.729"/>
    <p1510:client id="{FC194283-EEC6-0521-D05D-577D27A78776}" v="273" dt="2023-10-30T20:28:43.602"/>
    <p1510:client id="{FFAD42E9-C519-11DF-E299-D524098D897E}" v="54" dt="2023-10-24T02:47:59.1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3" d="100"/>
          <a:sy n="83" d="100"/>
        </p:scale>
        <p:origin x="658"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5/10/relationships/revisionInfo" Target="revisionInfo.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ena Lida Surenian" userId="S::als0813@ads.northwestern.edu::e2fd0e4e-6417-49b0-ab16-0ba26a1719f0" providerId="AD" clId="Web-{C3552A06-5909-6D3B-9B48-7F6146D07F3D}"/>
    <pc:docChg chg="addSld modSld sldOrd">
      <pc:chgData name="Aleena Lida Surenian" userId="S::als0813@ads.northwestern.edu::e2fd0e4e-6417-49b0-ab16-0ba26a1719f0" providerId="AD" clId="Web-{C3552A06-5909-6D3B-9B48-7F6146D07F3D}" dt="2023-10-30T19:52:03.786" v="107" actId="20577"/>
      <pc:docMkLst>
        <pc:docMk/>
      </pc:docMkLst>
      <pc:sldChg chg="modSp addCm">
        <pc:chgData name="Aleena Lida Surenian" userId="S::als0813@ads.northwestern.edu::e2fd0e4e-6417-49b0-ab16-0ba26a1719f0" providerId="AD" clId="Web-{C3552A06-5909-6D3B-9B48-7F6146D07F3D}" dt="2023-10-30T19:15:11.279" v="12" actId="1076"/>
        <pc:sldMkLst>
          <pc:docMk/>
          <pc:sldMk cId="4044691067" sldId="283"/>
        </pc:sldMkLst>
        <pc:spChg chg="mod">
          <ac:chgData name="Aleena Lida Surenian" userId="S::als0813@ads.northwestern.edu::e2fd0e4e-6417-49b0-ab16-0ba26a1719f0" providerId="AD" clId="Web-{C3552A06-5909-6D3B-9B48-7F6146D07F3D}" dt="2023-10-30T19:15:06.685" v="11" actId="1076"/>
          <ac:spMkLst>
            <pc:docMk/>
            <pc:sldMk cId="4044691067" sldId="283"/>
            <ac:spMk id="2" creationId="{00000000-0000-0000-0000-000000000000}"/>
          </ac:spMkLst>
        </pc:spChg>
        <pc:spChg chg="mod">
          <ac:chgData name="Aleena Lida Surenian" userId="S::als0813@ads.northwestern.edu::e2fd0e4e-6417-49b0-ab16-0ba26a1719f0" providerId="AD" clId="Web-{C3552A06-5909-6D3B-9B48-7F6146D07F3D}" dt="2023-10-30T19:15:11.279" v="12" actId="1076"/>
          <ac:spMkLst>
            <pc:docMk/>
            <pc:sldMk cId="4044691067" sldId="283"/>
            <ac:spMk id="3" creationId="{00000000-0000-0000-0000-000000000000}"/>
          </ac:spMkLst>
        </pc:spChg>
        <pc:spChg chg="mod">
          <ac:chgData name="Aleena Lida Surenian" userId="S::als0813@ads.northwestern.edu::e2fd0e4e-6417-49b0-ab16-0ba26a1719f0" providerId="AD" clId="Web-{C3552A06-5909-6D3B-9B48-7F6146D07F3D}" dt="2023-10-30T19:15:02.420" v="10" actId="14100"/>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add">
              <pc226:chgData name="Aleena Lida Surenian" userId="S::als0813@ads.northwestern.edu::e2fd0e4e-6417-49b0-ab16-0ba26a1719f0" providerId="AD" clId="Web-{C3552A06-5909-6D3B-9B48-7F6146D07F3D}" dt="2023-10-30T19:14:00.558" v="0"/>
              <pc2:cmMkLst xmlns:pc2="http://schemas.microsoft.com/office/powerpoint/2019/9/main/command">
                <pc:docMk/>
                <pc:sldMk cId="4044691067" sldId="283"/>
                <pc2:cmMk id="{51D99AE4-D60E-4433-99C8-10E7EA141D41}"/>
              </pc2:cmMkLst>
            </pc226:cmChg>
          </p:ext>
        </pc:extLst>
      </pc:sldChg>
      <pc:sldChg chg="modSp">
        <pc:chgData name="Aleena Lida Surenian" userId="S::als0813@ads.northwestern.edu::e2fd0e4e-6417-49b0-ab16-0ba26a1719f0" providerId="AD" clId="Web-{C3552A06-5909-6D3B-9B48-7F6146D07F3D}" dt="2023-10-30T19:26:16.305" v="23" actId="1076"/>
        <pc:sldMkLst>
          <pc:docMk/>
          <pc:sldMk cId="714682852" sldId="552"/>
        </pc:sldMkLst>
        <pc:spChg chg="mod">
          <ac:chgData name="Aleena Lida Surenian" userId="S::als0813@ads.northwestern.edu::e2fd0e4e-6417-49b0-ab16-0ba26a1719f0" providerId="AD" clId="Web-{C3552A06-5909-6D3B-9B48-7F6146D07F3D}" dt="2023-10-30T19:26:16.305" v="23" actId="1076"/>
          <ac:spMkLst>
            <pc:docMk/>
            <pc:sldMk cId="714682852" sldId="552"/>
            <ac:spMk id="3" creationId="{B5F4F3C7-3634-23BA-9CDD-53123F8398D7}"/>
          </ac:spMkLst>
        </pc:spChg>
      </pc:sldChg>
      <pc:sldChg chg="modSp">
        <pc:chgData name="Aleena Lida Surenian" userId="S::als0813@ads.northwestern.edu::e2fd0e4e-6417-49b0-ab16-0ba26a1719f0" providerId="AD" clId="Web-{C3552A06-5909-6D3B-9B48-7F6146D07F3D}" dt="2023-10-30T19:23:51.737" v="18" actId="20577"/>
        <pc:sldMkLst>
          <pc:docMk/>
          <pc:sldMk cId="1514756035" sldId="556"/>
        </pc:sldMkLst>
        <pc:spChg chg="mod">
          <ac:chgData name="Aleena Lida Surenian" userId="S::als0813@ads.northwestern.edu::e2fd0e4e-6417-49b0-ab16-0ba26a1719f0" providerId="AD" clId="Web-{C3552A06-5909-6D3B-9B48-7F6146D07F3D}" dt="2023-10-30T19:23:51.737" v="18" actId="20577"/>
          <ac:spMkLst>
            <pc:docMk/>
            <pc:sldMk cId="1514756035" sldId="556"/>
            <ac:spMk id="28" creationId="{8C1D734D-3C73-E6F6-D1A8-CF64A5F8112D}"/>
          </ac:spMkLst>
        </pc:spChg>
      </pc:sldChg>
      <pc:sldChg chg="modSp">
        <pc:chgData name="Aleena Lida Surenian" userId="S::als0813@ads.northwestern.edu::e2fd0e4e-6417-49b0-ab16-0ba26a1719f0" providerId="AD" clId="Web-{C3552A06-5909-6D3B-9B48-7F6146D07F3D}" dt="2023-10-30T19:52:03.786" v="107" actId="20577"/>
        <pc:sldMkLst>
          <pc:docMk/>
          <pc:sldMk cId="4283907660" sldId="580"/>
        </pc:sldMkLst>
        <pc:spChg chg="mod">
          <ac:chgData name="Aleena Lida Surenian" userId="S::als0813@ads.northwestern.edu::e2fd0e4e-6417-49b0-ab16-0ba26a1719f0" providerId="AD" clId="Web-{C3552A06-5909-6D3B-9B48-7F6146D07F3D}" dt="2023-10-30T19:52:03.786" v="107" actId="20577"/>
          <ac:spMkLst>
            <pc:docMk/>
            <pc:sldMk cId="4283907660" sldId="580"/>
            <ac:spMk id="68" creationId="{00000000-0000-0000-0000-000000000000}"/>
          </ac:spMkLst>
        </pc:spChg>
      </pc:sldChg>
      <pc:sldChg chg="addSp modSp">
        <pc:chgData name="Aleena Lida Surenian" userId="S::als0813@ads.northwestern.edu::e2fd0e4e-6417-49b0-ab16-0ba26a1719f0" providerId="AD" clId="Web-{C3552A06-5909-6D3B-9B48-7F6146D07F3D}" dt="2023-10-30T19:35:15.325" v="96" actId="1076"/>
        <pc:sldMkLst>
          <pc:docMk/>
          <pc:sldMk cId="3870927286" sldId="583"/>
        </pc:sldMkLst>
        <pc:spChg chg="mod">
          <ac:chgData name="Aleena Lida Surenian" userId="S::als0813@ads.northwestern.edu::e2fd0e4e-6417-49b0-ab16-0ba26a1719f0" providerId="AD" clId="Web-{C3552A06-5909-6D3B-9B48-7F6146D07F3D}" dt="2023-10-30T19:34:35.464" v="92" actId="20577"/>
          <ac:spMkLst>
            <pc:docMk/>
            <pc:sldMk cId="3870927286" sldId="583"/>
            <ac:spMk id="2" creationId="{00000000-0000-0000-0000-000000000000}"/>
          </ac:spMkLst>
        </pc:spChg>
        <pc:spChg chg="mod">
          <ac:chgData name="Aleena Lida Surenian" userId="S::als0813@ads.northwestern.edu::e2fd0e4e-6417-49b0-ab16-0ba26a1719f0" providerId="AD" clId="Web-{C3552A06-5909-6D3B-9B48-7F6146D07F3D}" dt="2023-10-30T19:33:12.274" v="60" actId="20577"/>
          <ac:spMkLst>
            <pc:docMk/>
            <pc:sldMk cId="3870927286" sldId="583"/>
            <ac:spMk id="12" creationId="{00000000-0000-0000-0000-000000000000}"/>
          </ac:spMkLst>
        </pc:spChg>
        <pc:spChg chg="mod">
          <ac:chgData name="Aleena Lida Surenian" userId="S::als0813@ads.northwestern.edu::e2fd0e4e-6417-49b0-ab16-0ba26a1719f0" providerId="AD" clId="Web-{C3552A06-5909-6D3B-9B48-7F6146D07F3D}" dt="2023-10-30T19:33:23.134" v="62" actId="20577"/>
          <ac:spMkLst>
            <pc:docMk/>
            <pc:sldMk cId="3870927286" sldId="583"/>
            <ac:spMk id="27" creationId="{00000000-0000-0000-0000-000000000000}"/>
          </ac:spMkLst>
        </pc:spChg>
        <pc:spChg chg="mod">
          <ac:chgData name="Aleena Lida Surenian" userId="S::als0813@ads.northwestern.edu::e2fd0e4e-6417-49b0-ab16-0ba26a1719f0" providerId="AD" clId="Web-{C3552A06-5909-6D3B-9B48-7F6146D07F3D}" dt="2023-10-30T19:33:39.494" v="65" actId="14100"/>
          <ac:spMkLst>
            <pc:docMk/>
            <pc:sldMk cId="3870927286" sldId="583"/>
            <ac:spMk id="39" creationId="{00000000-0000-0000-0000-000000000000}"/>
          </ac:spMkLst>
        </pc:spChg>
        <pc:picChg chg="add mod">
          <ac:chgData name="Aleena Lida Surenian" userId="S::als0813@ads.northwestern.edu::e2fd0e4e-6417-49b0-ab16-0ba26a1719f0" providerId="AD" clId="Web-{C3552A06-5909-6D3B-9B48-7F6146D07F3D}" dt="2023-10-30T19:35:15.325" v="96" actId="1076"/>
          <ac:picMkLst>
            <pc:docMk/>
            <pc:sldMk cId="3870927286" sldId="583"/>
            <ac:picMk id="18" creationId="{1199796C-BA73-A007-E570-EBC0C69CD679}"/>
          </ac:picMkLst>
        </pc:picChg>
      </pc:sldChg>
      <pc:sldChg chg="modSp">
        <pc:chgData name="Aleena Lida Surenian" userId="S::als0813@ads.northwestern.edu::e2fd0e4e-6417-49b0-ab16-0ba26a1719f0" providerId="AD" clId="Web-{C3552A06-5909-6D3B-9B48-7F6146D07F3D}" dt="2023-10-30T19:44:55.722" v="105" actId="1076"/>
        <pc:sldMkLst>
          <pc:docMk/>
          <pc:sldMk cId="629433230" sldId="591"/>
        </pc:sldMkLst>
        <pc:spChg chg="mod">
          <ac:chgData name="Aleena Lida Surenian" userId="S::als0813@ads.northwestern.edu::e2fd0e4e-6417-49b0-ab16-0ba26a1719f0" providerId="AD" clId="Web-{C3552A06-5909-6D3B-9B48-7F6146D07F3D}" dt="2023-10-30T19:44:50.566" v="104" actId="14100"/>
          <ac:spMkLst>
            <pc:docMk/>
            <pc:sldMk cId="629433230" sldId="591"/>
            <ac:spMk id="24" creationId="{82DED22A-2957-2107-97D2-7694FF88F0A5}"/>
          </ac:spMkLst>
        </pc:spChg>
        <pc:spChg chg="mod">
          <ac:chgData name="Aleena Lida Surenian" userId="S::als0813@ads.northwestern.edu::e2fd0e4e-6417-49b0-ab16-0ba26a1719f0" providerId="AD" clId="Web-{C3552A06-5909-6D3B-9B48-7F6146D07F3D}" dt="2023-10-30T19:44:55.722" v="105" actId="1076"/>
          <ac:spMkLst>
            <pc:docMk/>
            <pc:sldMk cId="629433230" sldId="591"/>
            <ac:spMk id="26" creationId="{7ADA2A22-B85F-E8A9-52B3-7FA1A111EB25}"/>
          </ac:spMkLst>
        </pc:spChg>
      </pc:sldChg>
      <pc:sldChg chg="mod modShow">
        <pc:chgData name="Aleena Lida Surenian" userId="S::als0813@ads.northwestern.edu::e2fd0e4e-6417-49b0-ab16-0ba26a1719f0" providerId="AD" clId="Web-{C3552A06-5909-6D3B-9B48-7F6146D07F3D}" dt="2023-10-30T19:17:10.971" v="14"/>
        <pc:sldMkLst>
          <pc:docMk/>
          <pc:sldMk cId="2628065282" sldId="597"/>
        </pc:sldMkLst>
      </pc:sldChg>
      <pc:sldChg chg="mod modShow">
        <pc:chgData name="Aleena Lida Surenian" userId="S::als0813@ads.northwestern.edu::e2fd0e4e-6417-49b0-ab16-0ba26a1719f0" providerId="AD" clId="Web-{C3552A06-5909-6D3B-9B48-7F6146D07F3D}" dt="2023-10-30T19:16:52.439" v="13"/>
        <pc:sldMkLst>
          <pc:docMk/>
          <pc:sldMk cId="1478149357" sldId="598"/>
        </pc:sldMkLst>
      </pc:sldChg>
      <pc:sldChg chg="modSp">
        <pc:chgData name="Aleena Lida Surenian" userId="S::als0813@ads.northwestern.edu::e2fd0e4e-6417-49b0-ab16-0ba26a1719f0" providerId="AD" clId="Web-{C3552A06-5909-6D3B-9B48-7F6146D07F3D}" dt="2023-10-30T19:19:19.586" v="17"/>
        <pc:sldMkLst>
          <pc:docMk/>
          <pc:sldMk cId="2470795492" sldId="599"/>
        </pc:sldMkLst>
        <pc:spChg chg="mod">
          <ac:chgData name="Aleena Lida Surenian" userId="S::als0813@ads.northwestern.edu::e2fd0e4e-6417-49b0-ab16-0ba26a1719f0" providerId="AD" clId="Web-{C3552A06-5909-6D3B-9B48-7F6146D07F3D}" dt="2023-10-30T19:19:19.586" v="17"/>
          <ac:spMkLst>
            <pc:docMk/>
            <pc:sldMk cId="2470795492" sldId="599"/>
            <ac:spMk id="16386" creationId="{00000000-0000-0000-0000-000000000000}"/>
          </ac:spMkLst>
        </pc:spChg>
      </pc:sldChg>
      <pc:sldChg chg="modSp">
        <pc:chgData name="Aleena Lida Surenian" userId="S::als0813@ads.northwestern.edu::e2fd0e4e-6417-49b0-ab16-0ba26a1719f0" providerId="AD" clId="Web-{C3552A06-5909-6D3B-9B48-7F6146D07F3D}" dt="2023-10-30T19:19:10.882" v="16"/>
        <pc:sldMkLst>
          <pc:docMk/>
          <pc:sldMk cId="2592767400" sldId="600"/>
        </pc:sldMkLst>
        <pc:spChg chg="mod">
          <ac:chgData name="Aleena Lida Surenian" userId="S::als0813@ads.northwestern.edu::e2fd0e4e-6417-49b0-ab16-0ba26a1719f0" providerId="AD" clId="Web-{C3552A06-5909-6D3B-9B48-7F6146D07F3D}" dt="2023-10-30T19:19:10.882" v="16"/>
          <ac:spMkLst>
            <pc:docMk/>
            <pc:sldMk cId="2592767400" sldId="600"/>
            <ac:spMk id="16386" creationId="{00000000-0000-0000-0000-000000000000}"/>
          </ac:spMkLst>
        </pc:spChg>
      </pc:sldChg>
      <pc:sldChg chg="modSp">
        <pc:chgData name="Aleena Lida Surenian" userId="S::als0813@ads.northwestern.edu::e2fd0e4e-6417-49b0-ab16-0ba26a1719f0" providerId="AD" clId="Web-{C3552A06-5909-6D3B-9B48-7F6146D07F3D}" dt="2023-10-30T19:17:40.566" v="15"/>
        <pc:sldMkLst>
          <pc:docMk/>
          <pc:sldMk cId="1011826885" sldId="602"/>
        </pc:sldMkLst>
        <pc:spChg chg="mod">
          <ac:chgData name="Aleena Lida Surenian" userId="S::als0813@ads.northwestern.edu::e2fd0e4e-6417-49b0-ab16-0ba26a1719f0" providerId="AD" clId="Web-{C3552A06-5909-6D3B-9B48-7F6146D07F3D}" dt="2023-10-30T19:17:40.566" v="15"/>
          <ac:spMkLst>
            <pc:docMk/>
            <pc:sldMk cId="1011826885" sldId="602"/>
            <ac:spMk id="16386" creationId="{00000000-0000-0000-0000-000000000000}"/>
          </ac:spMkLst>
        </pc:spChg>
      </pc:sldChg>
      <pc:sldChg chg="ord">
        <pc:chgData name="Aleena Lida Surenian" userId="S::als0813@ads.northwestern.edu::e2fd0e4e-6417-49b0-ab16-0ba26a1719f0" providerId="AD" clId="Web-{C3552A06-5909-6D3B-9B48-7F6146D07F3D}" dt="2023-10-30T19:24:26.644" v="19"/>
        <pc:sldMkLst>
          <pc:docMk/>
          <pc:sldMk cId="3726638559" sldId="616"/>
        </pc:sldMkLst>
      </pc:sldChg>
      <pc:sldChg chg="modSp new">
        <pc:chgData name="Aleena Lida Surenian" userId="S::als0813@ads.northwestern.edu::e2fd0e4e-6417-49b0-ab16-0ba26a1719f0" providerId="AD" clId="Web-{C3552A06-5909-6D3B-9B48-7F6146D07F3D}" dt="2023-10-30T19:29:50.454" v="27" actId="20577"/>
        <pc:sldMkLst>
          <pc:docMk/>
          <pc:sldMk cId="3321596273" sldId="640"/>
        </pc:sldMkLst>
        <pc:spChg chg="mod">
          <ac:chgData name="Aleena Lida Surenian" userId="S::als0813@ads.northwestern.edu::e2fd0e4e-6417-49b0-ab16-0ba26a1719f0" providerId="AD" clId="Web-{C3552A06-5909-6D3B-9B48-7F6146D07F3D}" dt="2023-10-30T19:29:50.454" v="27" actId="20577"/>
          <ac:spMkLst>
            <pc:docMk/>
            <pc:sldMk cId="3321596273" sldId="640"/>
            <ac:spMk id="2" creationId="{ED485DCA-3B68-AC74-53C8-6A271DAAA7B7}"/>
          </ac:spMkLst>
        </pc:spChg>
      </pc:sldChg>
      <pc:sldChg chg="modSp new">
        <pc:chgData name="Aleena Lida Surenian" userId="S::als0813@ads.northwestern.edu::e2fd0e4e-6417-49b0-ab16-0ba26a1719f0" providerId="AD" clId="Web-{C3552A06-5909-6D3B-9B48-7F6146D07F3D}" dt="2023-10-30T19:30:34.611" v="51" actId="20577"/>
        <pc:sldMkLst>
          <pc:docMk/>
          <pc:sldMk cId="2460321206" sldId="641"/>
        </pc:sldMkLst>
        <pc:spChg chg="mod">
          <ac:chgData name="Aleena Lida Surenian" userId="S::als0813@ads.northwestern.edu::e2fd0e4e-6417-49b0-ab16-0ba26a1719f0" providerId="AD" clId="Web-{C3552A06-5909-6D3B-9B48-7F6146D07F3D}" dt="2023-10-30T19:30:34.611" v="51" actId="20577"/>
          <ac:spMkLst>
            <pc:docMk/>
            <pc:sldMk cId="2460321206" sldId="641"/>
            <ac:spMk id="2" creationId="{F341808F-A4FF-102A-993E-7096843D4FE9}"/>
          </ac:spMkLst>
        </pc:spChg>
      </pc:sldChg>
      <pc:sldChg chg="modSp new">
        <pc:chgData name="Aleena Lida Surenian" userId="S::als0813@ads.northwestern.edu::e2fd0e4e-6417-49b0-ab16-0ba26a1719f0" providerId="AD" clId="Web-{C3552A06-5909-6D3B-9B48-7F6146D07F3D}" dt="2023-10-30T19:37:13.486" v="103" actId="20577"/>
        <pc:sldMkLst>
          <pc:docMk/>
          <pc:sldMk cId="113281680" sldId="642"/>
        </pc:sldMkLst>
        <pc:spChg chg="mod">
          <ac:chgData name="Aleena Lida Surenian" userId="S::als0813@ads.northwestern.edu::e2fd0e4e-6417-49b0-ab16-0ba26a1719f0" providerId="AD" clId="Web-{C3552A06-5909-6D3B-9B48-7F6146D07F3D}" dt="2023-10-30T19:37:13.486" v="103" actId="20577"/>
          <ac:spMkLst>
            <pc:docMk/>
            <pc:sldMk cId="113281680" sldId="642"/>
            <ac:spMk id="2" creationId="{F4AFEDD1-1B2F-10C8-9EFB-EFBD0CAB6989}"/>
          </ac:spMkLst>
        </pc:spChg>
      </pc:sldChg>
    </pc:docChg>
  </pc:docChgLst>
  <pc:docChgLst>
    <pc:chgData name="Eileen Fleming Suse" userId="S::efs3844@ads.northwestern.edu::725c94ef-d051-42d7-9d33-8572765d592b" providerId="AD" clId="Web-{305AC9D0-E55A-2A1E-F2E7-EBEA3644D9AC}"/>
    <pc:docChg chg="addSld modSld sldOrd">
      <pc:chgData name="Eileen Fleming Suse" userId="S::efs3844@ads.northwestern.edu::725c94ef-d051-42d7-9d33-8572765d592b" providerId="AD" clId="Web-{305AC9D0-E55A-2A1E-F2E7-EBEA3644D9AC}" dt="2023-10-24T16:00:52.345" v="55" actId="20577"/>
      <pc:docMkLst>
        <pc:docMk/>
      </pc:docMkLst>
      <pc:sldChg chg="modSp">
        <pc:chgData name="Eileen Fleming Suse" userId="S::efs3844@ads.northwestern.edu::725c94ef-d051-42d7-9d33-8572765d592b" providerId="AD" clId="Web-{305AC9D0-E55A-2A1E-F2E7-EBEA3644D9AC}" dt="2023-10-24T14:55:17.582" v="21" actId="20577"/>
        <pc:sldMkLst>
          <pc:docMk/>
          <pc:sldMk cId="1522616096" sldId="555"/>
        </pc:sldMkLst>
        <pc:spChg chg="mod">
          <ac:chgData name="Eileen Fleming Suse" userId="S::efs3844@ads.northwestern.edu::725c94ef-d051-42d7-9d33-8572765d592b" providerId="AD" clId="Web-{305AC9D0-E55A-2A1E-F2E7-EBEA3644D9AC}" dt="2023-10-24T14:55:17.582" v="21" actId="20577"/>
          <ac:spMkLst>
            <pc:docMk/>
            <pc:sldMk cId="1522616096" sldId="555"/>
            <ac:spMk id="4" creationId="{3D49CA6C-78ED-3124-7EE3-BBDDC9988910}"/>
          </ac:spMkLst>
        </pc:spChg>
      </pc:sldChg>
      <pc:sldChg chg="ord">
        <pc:chgData name="Eileen Fleming Suse" userId="S::efs3844@ads.northwestern.edu::725c94ef-d051-42d7-9d33-8572765d592b" providerId="AD" clId="Web-{305AC9D0-E55A-2A1E-F2E7-EBEA3644D9AC}" dt="2023-10-24T14:49:32.836" v="11"/>
        <pc:sldMkLst>
          <pc:docMk/>
          <pc:sldMk cId="773696652" sldId="558"/>
        </pc:sldMkLst>
      </pc:sldChg>
      <pc:sldChg chg="delSp modSp">
        <pc:chgData name="Eileen Fleming Suse" userId="S::efs3844@ads.northwestern.edu::725c94ef-d051-42d7-9d33-8572765d592b" providerId="AD" clId="Web-{305AC9D0-E55A-2A1E-F2E7-EBEA3644D9AC}" dt="2023-10-24T14:58:02.213" v="32" actId="14100"/>
        <pc:sldMkLst>
          <pc:docMk/>
          <pc:sldMk cId="3845418986" sldId="563"/>
        </pc:sldMkLst>
        <pc:spChg chg="del">
          <ac:chgData name="Eileen Fleming Suse" userId="S::efs3844@ads.northwestern.edu::725c94ef-d051-42d7-9d33-8572765d592b" providerId="AD" clId="Web-{305AC9D0-E55A-2A1E-F2E7-EBEA3644D9AC}" dt="2023-10-24T14:42:11.618" v="5"/>
          <ac:spMkLst>
            <pc:docMk/>
            <pc:sldMk cId="3845418986" sldId="563"/>
            <ac:spMk id="30" creationId="{00000000-0000-0000-0000-000000000000}"/>
          </ac:spMkLst>
        </pc:spChg>
        <pc:spChg chg="mod">
          <ac:chgData name="Eileen Fleming Suse" userId="S::efs3844@ads.northwestern.edu::725c94ef-d051-42d7-9d33-8572765d592b" providerId="AD" clId="Web-{305AC9D0-E55A-2A1E-F2E7-EBEA3644D9AC}" dt="2023-10-24T14:58:02.213" v="32" actId="14100"/>
          <ac:spMkLst>
            <pc:docMk/>
            <pc:sldMk cId="3845418986" sldId="563"/>
            <ac:spMk id="31" creationId="{00000000-0000-0000-0000-000000000000}"/>
          </ac:spMkLst>
        </pc:spChg>
        <pc:spChg chg="mod">
          <ac:chgData name="Eileen Fleming Suse" userId="S::efs3844@ads.northwestern.edu::725c94ef-d051-42d7-9d33-8572765d592b" providerId="AD" clId="Web-{305AC9D0-E55A-2A1E-F2E7-EBEA3644D9AC}" dt="2023-10-24T14:57:07.008" v="23"/>
          <ac:spMkLst>
            <pc:docMk/>
            <pc:sldMk cId="3845418986" sldId="563"/>
            <ac:spMk id="39" creationId="{00000000-0000-0000-0000-000000000000}"/>
          </ac:spMkLst>
        </pc:spChg>
        <pc:spChg chg="mod">
          <ac:chgData name="Eileen Fleming Suse" userId="S::efs3844@ads.northwestern.edu::725c94ef-d051-42d7-9d33-8572765d592b" providerId="AD" clId="Web-{305AC9D0-E55A-2A1E-F2E7-EBEA3644D9AC}" dt="2023-10-24T14:11:52.821" v="1" actId="20577"/>
          <ac:spMkLst>
            <pc:docMk/>
            <pc:sldMk cId="3845418986" sldId="563"/>
            <ac:spMk id="45" creationId="{00000000-0000-0000-0000-000000000000}"/>
          </ac:spMkLst>
        </pc:spChg>
        <pc:spChg chg="mod">
          <ac:chgData name="Eileen Fleming Suse" userId="S::efs3844@ads.northwestern.edu::725c94ef-d051-42d7-9d33-8572765d592b" providerId="AD" clId="Web-{305AC9D0-E55A-2A1E-F2E7-EBEA3644D9AC}" dt="2023-10-24T14:46:06.860" v="9" actId="1076"/>
          <ac:spMkLst>
            <pc:docMk/>
            <pc:sldMk cId="3845418986" sldId="563"/>
            <ac:spMk id="46" creationId="{00000000-0000-0000-0000-000000000000}"/>
          </ac:spMkLst>
        </pc:spChg>
      </pc:sldChg>
      <pc:sldChg chg="modSp">
        <pc:chgData name="Eileen Fleming Suse" userId="S::efs3844@ads.northwestern.edu::725c94ef-d051-42d7-9d33-8572765d592b" providerId="AD" clId="Web-{305AC9D0-E55A-2A1E-F2E7-EBEA3644D9AC}" dt="2023-10-24T14:58:28.479" v="33" actId="1076"/>
        <pc:sldMkLst>
          <pc:docMk/>
          <pc:sldMk cId="1536434647" sldId="564"/>
        </pc:sldMkLst>
        <pc:spChg chg="mod">
          <ac:chgData name="Eileen Fleming Suse" userId="S::efs3844@ads.northwestern.edu::725c94ef-d051-42d7-9d33-8572765d592b" providerId="AD" clId="Web-{305AC9D0-E55A-2A1E-F2E7-EBEA3644D9AC}" dt="2023-10-24T14:57:57.791" v="31" actId="14100"/>
          <ac:spMkLst>
            <pc:docMk/>
            <pc:sldMk cId="1536434647" sldId="564"/>
            <ac:spMk id="24" creationId="{00000000-0000-0000-0000-000000000000}"/>
          </ac:spMkLst>
        </pc:spChg>
        <pc:spChg chg="mod">
          <ac:chgData name="Eileen Fleming Suse" userId="S::efs3844@ads.northwestern.edu::725c94ef-d051-42d7-9d33-8572765d592b" providerId="AD" clId="Web-{305AC9D0-E55A-2A1E-F2E7-EBEA3644D9AC}" dt="2023-10-24T14:47:22.066" v="10" actId="1076"/>
          <ac:spMkLst>
            <pc:docMk/>
            <pc:sldMk cId="1536434647" sldId="564"/>
            <ac:spMk id="27" creationId="{00000000-0000-0000-0000-000000000000}"/>
          </ac:spMkLst>
        </pc:spChg>
        <pc:spChg chg="mod">
          <ac:chgData name="Eileen Fleming Suse" userId="S::efs3844@ads.northwestern.edu::725c94ef-d051-42d7-9d33-8572765d592b" providerId="AD" clId="Web-{305AC9D0-E55A-2A1E-F2E7-EBEA3644D9AC}" dt="2023-10-24T14:46:03.360" v="8" actId="1076"/>
          <ac:spMkLst>
            <pc:docMk/>
            <pc:sldMk cId="1536434647" sldId="564"/>
            <ac:spMk id="44" creationId="{00000000-0000-0000-0000-000000000000}"/>
          </ac:spMkLst>
        </pc:spChg>
        <pc:grpChg chg="mod">
          <ac:chgData name="Eileen Fleming Suse" userId="S::efs3844@ads.northwestern.edu::725c94ef-d051-42d7-9d33-8572765d592b" providerId="AD" clId="Web-{305AC9D0-E55A-2A1E-F2E7-EBEA3644D9AC}" dt="2023-10-24T14:58:28.479" v="33" actId="1076"/>
          <ac:grpSpMkLst>
            <pc:docMk/>
            <pc:sldMk cId="1536434647" sldId="564"/>
            <ac:grpSpMk id="2" creationId="{00000000-0000-0000-0000-000000000000}"/>
          </ac:grpSpMkLst>
        </pc:grpChg>
      </pc:sldChg>
      <pc:sldChg chg="modSp">
        <pc:chgData name="Eileen Fleming Suse" userId="S::efs3844@ads.northwestern.edu::725c94ef-d051-42d7-9d33-8572765d592b" providerId="AD" clId="Web-{305AC9D0-E55A-2A1E-F2E7-EBEA3644D9AC}" dt="2023-10-24T14:12:18.463" v="4" actId="20577"/>
        <pc:sldMkLst>
          <pc:docMk/>
          <pc:sldMk cId="3004937174" sldId="565"/>
        </pc:sldMkLst>
        <pc:spChg chg="mod">
          <ac:chgData name="Eileen Fleming Suse" userId="S::efs3844@ads.northwestern.edu::725c94ef-d051-42d7-9d33-8572765d592b" providerId="AD" clId="Web-{305AC9D0-E55A-2A1E-F2E7-EBEA3644D9AC}" dt="2023-10-24T14:12:03.322" v="2" actId="1076"/>
          <ac:spMkLst>
            <pc:docMk/>
            <pc:sldMk cId="3004937174" sldId="565"/>
            <ac:spMk id="38" creationId="{00000000-0000-0000-0000-000000000000}"/>
          </ac:spMkLst>
        </pc:spChg>
        <pc:spChg chg="mod">
          <ac:chgData name="Eileen Fleming Suse" userId="S::efs3844@ads.northwestern.edu::725c94ef-d051-42d7-9d33-8572765d592b" providerId="AD" clId="Web-{305AC9D0-E55A-2A1E-F2E7-EBEA3644D9AC}" dt="2023-10-24T14:12:18.463" v="4" actId="20577"/>
          <ac:spMkLst>
            <pc:docMk/>
            <pc:sldMk cId="3004937174" sldId="565"/>
            <ac:spMk id="41" creationId="{00000000-0000-0000-0000-000000000000}"/>
          </ac:spMkLst>
        </pc:spChg>
      </pc:sldChg>
      <pc:sldChg chg="modSp">
        <pc:chgData name="Eileen Fleming Suse" userId="S::efs3844@ads.northwestern.edu::725c94ef-d051-42d7-9d33-8572765d592b" providerId="AD" clId="Web-{305AC9D0-E55A-2A1E-F2E7-EBEA3644D9AC}" dt="2023-10-24T15:20:09.868" v="39" actId="14100"/>
        <pc:sldMkLst>
          <pc:docMk/>
          <pc:sldMk cId="2564870475" sldId="566"/>
        </pc:sldMkLst>
        <pc:spChg chg="mod">
          <ac:chgData name="Eileen Fleming Suse" userId="S::efs3844@ads.northwestern.edu::725c94ef-d051-42d7-9d33-8572765d592b" providerId="AD" clId="Web-{305AC9D0-E55A-2A1E-F2E7-EBEA3644D9AC}" dt="2023-10-24T15:20:07.305" v="38" actId="14100"/>
          <ac:spMkLst>
            <pc:docMk/>
            <pc:sldMk cId="2564870475" sldId="566"/>
            <ac:spMk id="23" creationId="{78B5A3B7-0107-74A6-42BE-EFADF14BEC3D}"/>
          </ac:spMkLst>
        </pc:spChg>
        <pc:picChg chg="mod">
          <ac:chgData name="Eileen Fleming Suse" userId="S::efs3844@ads.northwestern.edu::725c94ef-d051-42d7-9d33-8572765d592b" providerId="AD" clId="Web-{305AC9D0-E55A-2A1E-F2E7-EBEA3644D9AC}" dt="2023-10-24T15:20:09.868" v="39" actId="14100"/>
          <ac:picMkLst>
            <pc:docMk/>
            <pc:sldMk cId="2564870475" sldId="566"/>
            <ac:picMk id="24" creationId="{BB2CB55F-0790-7175-FF6E-777FF2A900CC}"/>
          </ac:picMkLst>
        </pc:picChg>
      </pc:sldChg>
      <pc:sldChg chg="addSp modSp new ord">
        <pc:chgData name="Eileen Fleming Suse" userId="S::efs3844@ads.northwestern.edu::725c94ef-d051-42d7-9d33-8572765d592b" providerId="AD" clId="Web-{305AC9D0-E55A-2A1E-F2E7-EBEA3644D9AC}" dt="2023-10-24T16:00:52.345" v="55" actId="20577"/>
        <pc:sldMkLst>
          <pc:docMk/>
          <pc:sldMk cId="1415571005" sldId="572"/>
        </pc:sldMkLst>
        <pc:spChg chg="add mod">
          <ac:chgData name="Eileen Fleming Suse" userId="S::efs3844@ads.northwestern.edu::725c94ef-d051-42d7-9d33-8572765d592b" providerId="AD" clId="Web-{305AC9D0-E55A-2A1E-F2E7-EBEA3644D9AC}" dt="2023-10-24T14:57:43.493" v="30" actId="14100"/>
          <ac:spMkLst>
            <pc:docMk/>
            <pc:sldMk cId="1415571005" sldId="572"/>
            <ac:spMk id="3" creationId="{E8766EA8-8D1C-74B1-60F2-6EE8D7D1A899}"/>
          </ac:spMkLst>
        </pc:spChg>
        <pc:spChg chg="add">
          <ac:chgData name="Eileen Fleming Suse" userId="S::efs3844@ads.northwestern.edu::725c94ef-d051-42d7-9d33-8572765d592b" providerId="AD" clId="Web-{305AC9D0-E55A-2A1E-F2E7-EBEA3644D9AC}" dt="2023-10-24T14:57:27.180" v="25"/>
          <ac:spMkLst>
            <pc:docMk/>
            <pc:sldMk cId="1415571005" sldId="572"/>
            <ac:spMk id="5" creationId="{5240BE87-4D13-BF3F-4932-9D8B2973FA85}"/>
          </ac:spMkLst>
        </pc:spChg>
        <pc:spChg chg="add">
          <ac:chgData name="Eileen Fleming Suse" userId="S::efs3844@ads.northwestern.edu::725c94ef-d051-42d7-9d33-8572765d592b" providerId="AD" clId="Web-{305AC9D0-E55A-2A1E-F2E7-EBEA3644D9AC}" dt="2023-10-24T14:57:27.196" v="26"/>
          <ac:spMkLst>
            <pc:docMk/>
            <pc:sldMk cId="1415571005" sldId="572"/>
            <ac:spMk id="7" creationId="{7F9321C2-D073-586B-B5DF-9C86117F7744}"/>
          </ac:spMkLst>
        </pc:spChg>
        <pc:spChg chg="add">
          <ac:chgData name="Eileen Fleming Suse" userId="S::efs3844@ads.northwestern.edu::725c94ef-d051-42d7-9d33-8572765d592b" providerId="AD" clId="Web-{305AC9D0-E55A-2A1E-F2E7-EBEA3644D9AC}" dt="2023-10-24T14:57:27.196" v="27"/>
          <ac:spMkLst>
            <pc:docMk/>
            <pc:sldMk cId="1415571005" sldId="572"/>
            <ac:spMk id="9" creationId="{E7EFA955-A8BB-A26D-68E1-96464B4A257F}"/>
          </ac:spMkLst>
        </pc:spChg>
        <pc:spChg chg="add">
          <ac:chgData name="Eileen Fleming Suse" userId="S::efs3844@ads.northwestern.edu::725c94ef-d051-42d7-9d33-8572765d592b" providerId="AD" clId="Web-{305AC9D0-E55A-2A1E-F2E7-EBEA3644D9AC}" dt="2023-10-24T14:57:27.212" v="28"/>
          <ac:spMkLst>
            <pc:docMk/>
            <pc:sldMk cId="1415571005" sldId="572"/>
            <ac:spMk id="11" creationId="{B192D65E-14E1-EAD3-E7D3-2EE53AA7B5BD}"/>
          </ac:spMkLst>
        </pc:spChg>
        <pc:spChg chg="add">
          <ac:chgData name="Eileen Fleming Suse" userId="S::efs3844@ads.northwestern.edu::725c94ef-d051-42d7-9d33-8572765d592b" providerId="AD" clId="Web-{305AC9D0-E55A-2A1E-F2E7-EBEA3644D9AC}" dt="2023-10-24T14:57:39.181" v="29"/>
          <ac:spMkLst>
            <pc:docMk/>
            <pc:sldMk cId="1415571005" sldId="572"/>
            <ac:spMk id="13" creationId="{6052322E-FB3E-BFB4-5E31-14610EA9827E}"/>
          </ac:spMkLst>
        </pc:spChg>
        <pc:spChg chg="add mod">
          <ac:chgData name="Eileen Fleming Suse" userId="S::efs3844@ads.northwestern.edu::725c94ef-d051-42d7-9d33-8572765d592b" providerId="AD" clId="Web-{305AC9D0-E55A-2A1E-F2E7-EBEA3644D9AC}" dt="2023-10-24T16:00:52.345" v="55" actId="20577"/>
          <ac:spMkLst>
            <pc:docMk/>
            <pc:sldMk cId="1415571005" sldId="572"/>
            <ac:spMk id="14" creationId="{C16CF44D-7798-4583-BFDB-87260C98EA94}"/>
          </ac:spMkLst>
        </pc:spChg>
      </pc:sldChg>
      <pc:sldChg chg="modSp add replId">
        <pc:chgData name="Eileen Fleming Suse" userId="S::efs3844@ads.northwestern.edu::725c94ef-d051-42d7-9d33-8572765d592b" providerId="AD" clId="Web-{305AC9D0-E55A-2A1E-F2E7-EBEA3644D9AC}" dt="2023-10-24T15:14:54.982" v="35" actId="1076"/>
        <pc:sldMkLst>
          <pc:docMk/>
          <pc:sldMk cId="2901982042" sldId="573"/>
        </pc:sldMkLst>
        <pc:spChg chg="mod">
          <ac:chgData name="Eileen Fleming Suse" userId="S::efs3844@ads.northwestern.edu::725c94ef-d051-42d7-9d33-8572765d592b" providerId="AD" clId="Web-{305AC9D0-E55A-2A1E-F2E7-EBEA3644D9AC}" dt="2023-10-24T15:14:54.982" v="35" actId="1076"/>
          <ac:spMkLst>
            <pc:docMk/>
            <pc:sldMk cId="2901982042" sldId="573"/>
            <ac:spMk id="28" creationId="{00000000-0000-0000-0000-000000000000}"/>
          </ac:spMkLst>
        </pc:spChg>
      </pc:sldChg>
    </pc:docChg>
  </pc:docChgLst>
  <pc:docChgLst>
    <pc:chgData name="Eileen Fleming Suse" userId="S::efs3844@ads.northwestern.edu::725c94ef-d051-42d7-9d33-8572765d592b" providerId="AD" clId="Web-{FFAD42E9-C519-11DF-E299-D524098D897E}"/>
    <pc:docChg chg="addSld modSld">
      <pc:chgData name="Eileen Fleming Suse" userId="S::efs3844@ads.northwestern.edu::725c94ef-d051-42d7-9d33-8572765d592b" providerId="AD" clId="Web-{FFAD42E9-C519-11DF-E299-D524098D897E}" dt="2023-10-24T02:47:59.133" v="27" actId="14100"/>
      <pc:docMkLst>
        <pc:docMk/>
      </pc:docMkLst>
      <pc:sldChg chg="add">
        <pc:chgData name="Eileen Fleming Suse" userId="S::efs3844@ads.northwestern.edu::725c94ef-d051-42d7-9d33-8572765d592b" providerId="AD" clId="Web-{FFAD42E9-C519-11DF-E299-D524098D897E}" dt="2023-10-24T02:45:56.550" v="0"/>
        <pc:sldMkLst>
          <pc:docMk/>
          <pc:sldMk cId="3845418986" sldId="563"/>
        </pc:sldMkLst>
      </pc:sldChg>
      <pc:sldChg chg="modSp add">
        <pc:chgData name="Eileen Fleming Suse" userId="S::efs3844@ads.northwestern.edu::725c94ef-d051-42d7-9d33-8572765d592b" providerId="AD" clId="Web-{FFAD42E9-C519-11DF-E299-D524098D897E}" dt="2023-10-24T02:47:04.615" v="20" actId="1076"/>
        <pc:sldMkLst>
          <pc:docMk/>
          <pc:sldMk cId="1536434647" sldId="564"/>
        </pc:sldMkLst>
        <pc:spChg chg="mod">
          <ac:chgData name="Eileen Fleming Suse" userId="S::efs3844@ads.northwestern.edu::725c94ef-d051-42d7-9d33-8572765d592b" providerId="AD" clId="Web-{FFAD42E9-C519-11DF-E299-D524098D897E}" dt="2023-10-24T02:46:24.114" v="5" actId="20577"/>
          <ac:spMkLst>
            <pc:docMk/>
            <pc:sldMk cId="1536434647" sldId="564"/>
            <ac:spMk id="39" creationId="{00000000-0000-0000-0000-000000000000}"/>
          </ac:spMkLst>
        </pc:spChg>
        <pc:spChg chg="mod">
          <ac:chgData name="Eileen Fleming Suse" userId="S::efs3844@ads.northwestern.edu::725c94ef-d051-42d7-9d33-8572765d592b" providerId="AD" clId="Web-{FFAD42E9-C519-11DF-E299-D524098D897E}" dt="2023-10-24T02:46:41.583" v="12" actId="20577"/>
          <ac:spMkLst>
            <pc:docMk/>
            <pc:sldMk cId="1536434647" sldId="564"/>
            <ac:spMk id="41" creationId="{00000000-0000-0000-0000-000000000000}"/>
          </ac:spMkLst>
        </pc:spChg>
        <pc:spChg chg="mod">
          <ac:chgData name="Eileen Fleming Suse" userId="S::efs3844@ads.northwestern.edu::725c94ef-d051-42d7-9d33-8572765d592b" providerId="AD" clId="Web-{FFAD42E9-C519-11DF-E299-D524098D897E}" dt="2023-10-24T02:46:54.552" v="18" actId="20577"/>
          <ac:spMkLst>
            <pc:docMk/>
            <pc:sldMk cId="1536434647" sldId="564"/>
            <ac:spMk id="43" creationId="{00000000-0000-0000-0000-000000000000}"/>
          </ac:spMkLst>
        </pc:spChg>
        <pc:spChg chg="mod">
          <ac:chgData name="Eileen Fleming Suse" userId="S::efs3844@ads.northwestern.edu::725c94ef-d051-42d7-9d33-8572765d592b" providerId="AD" clId="Web-{FFAD42E9-C519-11DF-E299-D524098D897E}" dt="2023-10-24T02:47:04.615" v="20" actId="1076"/>
          <ac:spMkLst>
            <pc:docMk/>
            <pc:sldMk cId="1536434647" sldId="564"/>
            <ac:spMk id="47" creationId="{00000000-0000-0000-0000-000000000000}"/>
          </ac:spMkLst>
        </pc:spChg>
      </pc:sldChg>
      <pc:sldChg chg="modSp add">
        <pc:chgData name="Eileen Fleming Suse" userId="S::efs3844@ads.northwestern.edu::725c94ef-d051-42d7-9d33-8572765d592b" providerId="AD" clId="Web-{FFAD42E9-C519-11DF-E299-D524098D897E}" dt="2023-10-24T02:47:59.133" v="27" actId="14100"/>
        <pc:sldMkLst>
          <pc:docMk/>
          <pc:sldMk cId="3004937174" sldId="565"/>
        </pc:sldMkLst>
        <pc:spChg chg="mod">
          <ac:chgData name="Eileen Fleming Suse" userId="S::efs3844@ads.northwestern.edu::725c94ef-d051-42d7-9d33-8572765d592b" providerId="AD" clId="Web-{FFAD42E9-C519-11DF-E299-D524098D897E}" dt="2023-10-24T02:47:55.679" v="26" actId="1076"/>
          <ac:spMkLst>
            <pc:docMk/>
            <pc:sldMk cId="3004937174" sldId="565"/>
            <ac:spMk id="33" creationId="{00000000-0000-0000-0000-000000000000}"/>
          </ac:spMkLst>
        </pc:spChg>
        <pc:spChg chg="mod">
          <ac:chgData name="Eileen Fleming Suse" userId="S::efs3844@ads.northwestern.edu::725c94ef-d051-42d7-9d33-8572765d592b" providerId="AD" clId="Web-{FFAD42E9-C519-11DF-E299-D524098D897E}" dt="2023-10-24T02:47:59.133" v="27" actId="14100"/>
          <ac:spMkLst>
            <pc:docMk/>
            <pc:sldMk cId="3004937174" sldId="565"/>
            <ac:spMk id="35" creationId="{00000000-0000-0000-0000-000000000000}"/>
          </ac:spMkLst>
        </pc:spChg>
        <pc:spChg chg="mod">
          <ac:chgData name="Eileen Fleming Suse" userId="S::efs3844@ads.northwestern.edu::725c94ef-d051-42d7-9d33-8572765d592b" providerId="AD" clId="Web-{FFAD42E9-C519-11DF-E299-D524098D897E}" dt="2023-10-24T02:47:35.194" v="22" actId="20577"/>
          <ac:spMkLst>
            <pc:docMk/>
            <pc:sldMk cId="3004937174" sldId="565"/>
            <ac:spMk id="37" creationId="{00000000-0000-0000-0000-000000000000}"/>
          </ac:spMkLst>
        </pc:spChg>
        <pc:spChg chg="mod">
          <ac:chgData name="Eileen Fleming Suse" userId="S::efs3844@ads.northwestern.edu::725c94ef-d051-42d7-9d33-8572765d592b" providerId="AD" clId="Web-{FFAD42E9-C519-11DF-E299-D524098D897E}" dt="2023-10-24T02:47:45.913" v="24" actId="20577"/>
          <ac:spMkLst>
            <pc:docMk/>
            <pc:sldMk cId="3004937174" sldId="565"/>
            <ac:spMk id="40" creationId="{00000000-0000-0000-0000-000000000000}"/>
          </ac:spMkLst>
        </pc:spChg>
      </pc:sldChg>
    </pc:docChg>
  </pc:docChgLst>
  <pc:docChgLst>
    <pc:chgData name="Eileen Fleming Suse" userId="S::efs3844@ads.northwestern.edu::725c94ef-d051-42d7-9d33-8572765d592b" providerId="AD" clId="Web-{BFC87AA7-C8F9-9EFC-19DD-EB23F26608F3}"/>
    <pc:docChg chg="modSld">
      <pc:chgData name="Eileen Fleming Suse" userId="S::efs3844@ads.northwestern.edu::725c94ef-d051-42d7-9d33-8572765d592b" providerId="AD" clId="Web-{BFC87AA7-C8F9-9EFC-19DD-EB23F26608F3}" dt="2023-11-16T22:57:07.054" v="22"/>
      <pc:docMkLst>
        <pc:docMk/>
      </pc:docMkLst>
      <pc:sldChg chg="addSp modSp">
        <pc:chgData name="Eileen Fleming Suse" userId="S::efs3844@ads.northwestern.edu::725c94ef-d051-42d7-9d33-8572765d592b" providerId="AD" clId="Web-{BFC87AA7-C8F9-9EFC-19DD-EB23F26608F3}" dt="2023-11-16T22:57:07.054" v="22"/>
        <pc:sldMkLst>
          <pc:docMk/>
          <pc:sldMk cId="3336998141" sldId="681"/>
        </pc:sldMkLst>
        <pc:spChg chg="mod">
          <ac:chgData name="Eileen Fleming Suse" userId="S::efs3844@ads.northwestern.edu::725c94ef-d051-42d7-9d33-8572765d592b" providerId="AD" clId="Web-{BFC87AA7-C8F9-9EFC-19DD-EB23F26608F3}" dt="2023-11-16T22:56:57.851" v="20" actId="14100"/>
          <ac:spMkLst>
            <pc:docMk/>
            <pc:sldMk cId="3336998141" sldId="681"/>
            <ac:spMk id="3" creationId="{00000000-0000-0000-0000-000000000000}"/>
          </ac:spMkLst>
        </pc:spChg>
        <pc:picChg chg="add mod">
          <ac:chgData name="Eileen Fleming Suse" userId="S::efs3844@ads.northwestern.edu::725c94ef-d051-42d7-9d33-8572765d592b" providerId="AD" clId="Web-{BFC87AA7-C8F9-9EFC-19DD-EB23F26608F3}" dt="2023-11-16T22:57:07.054" v="22"/>
          <ac:picMkLst>
            <pc:docMk/>
            <pc:sldMk cId="3336998141" sldId="681"/>
            <ac:picMk id="6" creationId="{46F42E17-0175-F9A2-1E13-137F29CD08FF}"/>
          </ac:picMkLst>
        </pc:picChg>
      </pc:sldChg>
      <pc:sldChg chg="addSp delSp modSp mod setBg">
        <pc:chgData name="Eileen Fleming Suse" userId="S::efs3844@ads.northwestern.edu::725c94ef-d051-42d7-9d33-8572765d592b" providerId="AD" clId="Web-{BFC87AA7-C8F9-9EFC-19DD-EB23F26608F3}" dt="2023-11-16T22:50:39.623" v="3"/>
        <pc:sldMkLst>
          <pc:docMk/>
          <pc:sldMk cId="2646520615" sldId="683"/>
        </pc:sldMkLst>
        <pc:spChg chg="mod">
          <ac:chgData name="Eileen Fleming Suse" userId="S::efs3844@ads.northwestern.edu::725c94ef-d051-42d7-9d33-8572765d592b" providerId="AD" clId="Web-{BFC87AA7-C8F9-9EFC-19DD-EB23F26608F3}" dt="2023-11-16T22:49:21.824" v="1"/>
          <ac:spMkLst>
            <pc:docMk/>
            <pc:sldMk cId="2646520615" sldId="683"/>
            <ac:spMk id="2" creationId="{00000000-0000-0000-0000-000000000000}"/>
          </ac:spMkLst>
        </pc:spChg>
        <pc:spChg chg="del">
          <ac:chgData name="Eileen Fleming Suse" userId="S::efs3844@ads.northwestern.edu::725c94ef-d051-42d7-9d33-8572765d592b" providerId="AD" clId="Web-{BFC87AA7-C8F9-9EFC-19DD-EB23F26608F3}" dt="2023-11-16T22:49:21.824" v="1"/>
          <ac:spMkLst>
            <pc:docMk/>
            <pc:sldMk cId="2646520615" sldId="683"/>
            <ac:spMk id="3" creationId="{00000000-0000-0000-0000-000000000000}"/>
          </ac:spMkLst>
        </pc:spChg>
        <pc:spChg chg="mod ord">
          <ac:chgData name="Eileen Fleming Suse" userId="S::efs3844@ads.northwestern.edu::725c94ef-d051-42d7-9d33-8572765d592b" providerId="AD" clId="Web-{BFC87AA7-C8F9-9EFC-19DD-EB23F26608F3}" dt="2023-11-16T22:49:21.824" v="1"/>
          <ac:spMkLst>
            <pc:docMk/>
            <pc:sldMk cId="2646520615" sldId="683"/>
            <ac:spMk id="4" creationId="{00000000-0000-0000-0000-000000000000}"/>
          </ac:spMkLst>
        </pc:spChg>
        <pc:spChg chg="mod">
          <ac:chgData name="Eileen Fleming Suse" userId="S::efs3844@ads.northwestern.edu::725c94ef-d051-42d7-9d33-8572765d592b" providerId="AD" clId="Web-{BFC87AA7-C8F9-9EFC-19DD-EB23F26608F3}" dt="2023-11-16T22:49:21.824" v="1"/>
          <ac:spMkLst>
            <pc:docMk/>
            <pc:sldMk cId="2646520615" sldId="683"/>
            <ac:spMk id="5" creationId="{00000000-0000-0000-0000-000000000000}"/>
          </ac:spMkLst>
        </pc:spChg>
        <pc:spChg chg="add">
          <ac:chgData name="Eileen Fleming Suse" userId="S::efs3844@ads.northwestern.edu::725c94ef-d051-42d7-9d33-8572765d592b" providerId="AD" clId="Web-{BFC87AA7-C8F9-9EFC-19DD-EB23F26608F3}" dt="2023-11-16T22:49:21.824" v="1"/>
          <ac:spMkLst>
            <pc:docMk/>
            <pc:sldMk cId="2646520615" sldId="683"/>
            <ac:spMk id="11" creationId="{7517A47C-B2E5-4B79-8061-D74B1311AF6E}"/>
          </ac:spMkLst>
        </pc:spChg>
        <pc:spChg chg="add">
          <ac:chgData name="Eileen Fleming Suse" userId="S::efs3844@ads.northwestern.edu::725c94ef-d051-42d7-9d33-8572765d592b" providerId="AD" clId="Web-{BFC87AA7-C8F9-9EFC-19DD-EB23F26608F3}" dt="2023-11-16T22:49:21.824" v="1"/>
          <ac:spMkLst>
            <pc:docMk/>
            <pc:sldMk cId="2646520615" sldId="683"/>
            <ac:spMk id="13" creationId="{C505E780-2083-4CB5-A42A-5E0E2908ECC3}"/>
          </ac:spMkLst>
        </pc:spChg>
        <pc:spChg chg="add">
          <ac:chgData name="Eileen Fleming Suse" userId="S::efs3844@ads.northwestern.edu::725c94ef-d051-42d7-9d33-8572765d592b" providerId="AD" clId="Web-{BFC87AA7-C8F9-9EFC-19DD-EB23F26608F3}" dt="2023-11-16T22:49:21.824" v="1"/>
          <ac:spMkLst>
            <pc:docMk/>
            <pc:sldMk cId="2646520615" sldId="683"/>
            <ac:spMk id="15" creationId="{D2C0AE1C-0118-41AE-8A10-7CDCBF10E96F}"/>
          </ac:spMkLst>
        </pc:spChg>
        <pc:spChg chg="add">
          <ac:chgData name="Eileen Fleming Suse" userId="S::efs3844@ads.northwestern.edu::725c94ef-d051-42d7-9d33-8572765d592b" providerId="AD" clId="Web-{BFC87AA7-C8F9-9EFC-19DD-EB23F26608F3}" dt="2023-11-16T22:49:21.824" v="1"/>
          <ac:spMkLst>
            <pc:docMk/>
            <pc:sldMk cId="2646520615" sldId="683"/>
            <ac:spMk id="17" creationId="{463EEC44-1BA3-44ED-81FC-A644B04B2A44}"/>
          </ac:spMkLst>
        </pc:spChg>
        <pc:graphicFrameChg chg="add modGraphic">
          <ac:chgData name="Eileen Fleming Suse" userId="S::efs3844@ads.northwestern.edu::725c94ef-d051-42d7-9d33-8572765d592b" providerId="AD" clId="Web-{BFC87AA7-C8F9-9EFC-19DD-EB23F26608F3}" dt="2023-11-16T22:50:39.623" v="3"/>
          <ac:graphicFrameMkLst>
            <pc:docMk/>
            <pc:sldMk cId="2646520615" sldId="683"/>
            <ac:graphicFrameMk id="7" creationId="{24D49A4E-BD95-5DF0-35BC-A9758FC2DA7E}"/>
          </ac:graphicFrameMkLst>
        </pc:graphicFrameChg>
      </pc:sldChg>
      <pc:sldChg chg="mod modClrScheme chgLayout">
        <pc:chgData name="Eileen Fleming Suse" userId="S::efs3844@ads.northwestern.edu::725c94ef-d051-42d7-9d33-8572765d592b" providerId="AD" clId="Web-{BFC87AA7-C8F9-9EFC-19DD-EB23F26608F3}" dt="2023-11-16T22:52:55.548" v="4"/>
        <pc:sldMkLst>
          <pc:docMk/>
          <pc:sldMk cId="441543077" sldId="686"/>
        </pc:sldMkLst>
      </pc:sldChg>
      <pc:sldChg chg="addSp delSp modSp mod setBg">
        <pc:chgData name="Eileen Fleming Suse" userId="S::efs3844@ads.northwestern.edu::725c94ef-d051-42d7-9d33-8572765d592b" providerId="AD" clId="Web-{BFC87AA7-C8F9-9EFC-19DD-EB23F26608F3}" dt="2023-11-16T22:56:01.928" v="16" actId="14100"/>
        <pc:sldMkLst>
          <pc:docMk/>
          <pc:sldMk cId="1663322964" sldId="690"/>
        </pc:sldMkLst>
        <pc:spChg chg="mod">
          <ac:chgData name="Eileen Fleming Suse" userId="S::efs3844@ads.northwestern.edu::725c94ef-d051-42d7-9d33-8572765d592b" providerId="AD" clId="Web-{BFC87AA7-C8F9-9EFC-19DD-EB23F26608F3}" dt="2023-11-16T22:55:04.880" v="14"/>
          <ac:spMkLst>
            <pc:docMk/>
            <pc:sldMk cId="1663322964" sldId="690"/>
            <ac:spMk id="2" creationId="{00000000-0000-0000-0000-000000000000}"/>
          </ac:spMkLst>
        </pc:spChg>
        <pc:spChg chg="del">
          <ac:chgData name="Eileen Fleming Suse" userId="S::efs3844@ads.northwestern.edu::725c94ef-d051-42d7-9d33-8572765d592b" providerId="AD" clId="Web-{BFC87AA7-C8F9-9EFC-19DD-EB23F26608F3}" dt="2023-11-16T22:53:54.940" v="5"/>
          <ac:spMkLst>
            <pc:docMk/>
            <pc:sldMk cId="1663322964" sldId="690"/>
            <ac:spMk id="3" creationId="{00000000-0000-0000-0000-000000000000}"/>
          </ac:spMkLst>
        </pc:spChg>
        <pc:spChg chg="mod ord">
          <ac:chgData name="Eileen Fleming Suse" userId="S::efs3844@ads.northwestern.edu::725c94ef-d051-42d7-9d33-8572765d592b" providerId="AD" clId="Web-{BFC87AA7-C8F9-9EFC-19DD-EB23F26608F3}" dt="2023-11-16T22:55:04.880" v="14"/>
          <ac:spMkLst>
            <pc:docMk/>
            <pc:sldMk cId="1663322964" sldId="690"/>
            <ac:spMk id="4" creationId="{00000000-0000-0000-0000-000000000000}"/>
          </ac:spMkLst>
        </pc:spChg>
        <pc:spChg chg="mod">
          <ac:chgData name="Eileen Fleming Suse" userId="S::efs3844@ads.northwestern.edu::725c94ef-d051-42d7-9d33-8572765d592b" providerId="AD" clId="Web-{BFC87AA7-C8F9-9EFC-19DD-EB23F26608F3}" dt="2023-11-16T22:53:54.940" v="5"/>
          <ac:spMkLst>
            <pc:docMk/>
            <pc:sldMk cId="1663322964" sldId="690"/>
            <ac:spMk id="5" creationId="{00000000-0000-0000-0000-000000000000}"/>
          </ac:spMkLst>
        </pc:spChg>
        <pc:spChg chg="add del">
          <ac:chgData name="Eileen Fleming Suse" userId="S::efs3844@ads.northwestern.edu::725c94ef-d051-42d7-9d33-8572765d592b" providerId="AD" clId="Web-{BFC87AA7-C8F9-9EFC-19DD-EB23F26608F3}" dt="2023-11-16T22:55:04.880" v="14"/>
          <ac:spMkLst>
            <pc:docMk/>
            <pc:sldMk cId="1663322964" sldId="690"/>
            <ac:spMk id="11" creationId="{81E1224E-6618-482E-BE87-321A7FC1CDE8}"/>
          </ac:spMkLst>
        </pc:spChg>
        <pc:spChg chg="add del">
          <ac:chgData name="Eileen Fleming Suse" userId="S::efs3844@ads.northwestern.edu::725c94ef-d051-42d7-9d33-8572765d592b" providerId="AD" clId="Web-{BFC87AA7-C8F9-9EFC-19DD-EB23F26608F3}" dt="2023-11-16T22:55:04.880" v="14"/>
          <ac:spMkLst>
            <pc:docMk/>
            <pc:sldMk cId="1663322964" sldId="690"/>
            <ac:spMk id="13" creationId="{066346BE-FDB4-4772-A696-0719490ABD64}"/>
          </ac:spMkLst>
        </pc:spChg>
        <pc:spChg chg="add del">
          <ac:chgData name="Eileen Fleming Suse" userId="S::efs3844@ads.northwestern.edu::725c94ef-d051-42d7-9d33-8572765d592b" providerId="AD" clId="Web-{BFC87AA7-C8F9-9EFC-19DD-EB23F26608F3}" dt="2023-11-16T22:55:04.880" v="14"/>
          <ac:spMkLst>
            <pc:docMk/>
            <pc:sldMk cId="1663322964" sldId="690"/>
            <ac:spMk id="15" creationId="{FB92FFCE-0C90-454E-AA25-D4EE9A6C39C5}"/>
          </ac:spMkLst>
        </pc:spChg>
        <pc:spChg chg="add">
          <ac:chgData name="Eileen Fleming Suse" userId="S::efs3844@ads.northwestern.edu::725c94ef-d051-42d7-9d33-8572765d592b" providerId="AD" clId="Web-{BFC87AA7-C8F9-9EFC-19DD-EB23F26608F3}" dt="2023-11-16T22:55:04.880" v="14"/>
          <ac:spMkLst>
            <pc:docMk/>
            <pc:sldMk cId="1663322964" sldId="690"/>
            <ac:spMk id="21" creationId="{7517A47C-B2E5-4B79-8061-D74B1311AF6E}"/>
          </ac:spMkLst>
        </pc:spChg>
        <pc:spChg chg="add">
          <ac:chgData name="Eileen Fleming Suse" userId="S::efs3844@ads.northwestern.edu::725c94ef-d051-42d7-9d33-8572765d592b" providerId="AD" clId="Web-{BFC87AA7-C8F9-9EFC-19DD-EB23F26608F3}" dt="2023-11-16T22:55:04.880" v="14"/>
          <ac:spMkLst>
            <pc:docMk/>
            <pc:sldMk cId="1663322964" sldId="690"/>
            <ac:spMk id="23" creationId="{C505E780-2083-4CB5-A42A-5E0E2908ECC3}"/>
          </ac:spMkLst>
        </pc:spChg>
        <pc:spChg chg="add">
          <ac:chgData name="Eileen Fleming Suse" userId="S::efs3844@ads.northwestern.edu::725c94ef-d051-42d7-9d33-8572765d592b" providerId="AD" clId="Web-{BFC87AA7-C8F9-9EFC-19DD-EB23F26608F3}" dt="2023-11-16T22:55:04.880" v="14"/>
          <ac:spMkLst>
            <pc:docMk/>
            <pc:sldMk cId="1663322964" sldId="690"/>
            <ac:spMk id="25" creationId="{D2C0AE1C-0118-41AE-8A10-7CDCBF10E96F}"/>
          </ac:spMkLst>
        </pc:spChg>
        <pc:spChg chg="add">
          <ac:chgData name="Eileen Fleming Suse" userId="S::efs3844@ads.northwestern.edu::725c94ef-d051-42d7-9d33-8572765d592b" providerId="AD" clId="Web-{BFC87AA7-C8F9-9EFC-19DD-EB23F26608F3}" dt="2023-11-16T22:55:04.880" v="14"/>
          <ac:spMkLst>
            <pc:docMk/>
            <pc:sldMk cId="1663322964" sldId="690"/>
            <ac:spMk id="27" creationId="{463EEC44-1BA3-44ED-81FC-A644B04B2A44}"/>
          </ac:spMkLst>
        </pc:spChg>
        <pc:graphicFrameChg chg="add del mod modGraphic">
          <ac:chgData name="Eileen Fleming Suse" userId="S::efs3844@ads.northwestern.edu::725c94ef-d051-42d7-9d33-8572765d592b" providerId="AD" clId="Web-{BFC87AA7-C8F9-9EFC-19DD-EB23F26608F3}" dt="2023-11-16T22:55:04.880" v="14"/>
          <ac:graphicFrameMkLst>
            <pc:docMk/>
            <pc:sldMk cId="1663322964" sldId="690"/>
            <ac:graphicFrameMk id="7" creationId="{4F9615E2-B206-CDA3-816A-1D194CA0D210}"/>
          </ac:graphicFrameMkLst>
        </pc:graphicFrameChg>
        <pc:graphicFrameChg chg="add mod">
          <ac:chgData name="Eileen Fleming Suse" userId="S::efs3844@ads.northwestern.edu::725c94ef-d051-42d7-9d33-8572765d592b" providerId="AD" clId="Web-{BFC87AA7-C8F9-9EFC-19DD-EB23F26608F3}" dt="2023-11-16T22:56:01.928" v="16" actId="14100"/>
          <ac:graphicFrameMkLst>
            <pc:docMk/>
            <pc:sldMk cId="1663322964" sldId="690"/>
            <ac:graphicFrameMk id="17" creationId="{9B647FFD-DB92-0E72-0606-A89EC41A7F93}"/>
          </ac:graphicFrameMkLst>
        </pc:graphicFrameChg>
      </pc:sldChg>
      <pc:sldChg chg="addSp modSp mod setBg">
        <pc:chgData name="Eileen Fleming Suse" userId="S::efs3844@ads.northwestern.edu::725c94ef-d051-42d7-9d33-8572765d592b" providerId="AD" clId="Web-{BFC87AA7-C8F9-9EFC-19DD-EB23F26608F3}" dt="2023-11-16T22:48:43.386" v="0"/>
        <pc:sldMkLst>
          <pc:docMk/>
          <pc:sldMk cId="1549218491" sldId="697"/>
        </pc:sldMkLst>
        <pc:spChg chg="mod">
          <ac:chgData name="Eileen Fleming Suse" userId="S::efs3844@ads.northwestern.edu::725c94ef-d051-42d7-9d33-8572765d592b" providerId="AD" clId="Web-{BFC87AA7-C8F9-9EFC-19DD-EB23F26608F3}" dt="2023-11-16T22:48:43.386" v="0"/>
          <ac:spMkLst>
            <pc:docMk/>
            <pc:sldMk cId="1549218491" sldId="697"/>
            <ac:spMk id="2"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4" creationId="{00000000-0000-0000-0000-000000000000}"/>
          </ac:spMkLst>
        </pc:spChg>
        <pc:spChg chg="mod ord">
          <ac:chgData name="Eileen Fleming Suse" userId="S::efs3844@ads.northwestern.edu::725c94ef-d051-42d7-9d33-8572765d592b" providerId="AD" clId="Web-{BFC87AA7-C8F9-9EFC-19DD-EB23F26608F3}" dt="2023-11-16T22:48:43.386" v="0"/>
          <ac:spMkLst>
            <pc:docMk/>
            <pc:sldMk cId="1549218491" sldId="697"/>
            <ac:spMk id="5"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10" creationId="{00000000-0000-0000-0000-000000000000}"/>
          </ac:spMkLst>
        </pc:spChg>
        <pc:spChg chg="add">
          <ac:chgData name="Eileen Fleming Suse" userId="S::efs3844@ads.northwestern.edu::725c94ef-d051-42d7-9d33-8572765d592b" providerId="AD" clId="Web-{BFC87AA7-C8F9-9EFC-19DD-EB23F26608F3}" dt="2023-11-16T22:48:43.386" v="0"/>
          <ac:spMkLst>
            <pc:docMk/>
            <pc:sldMk cId="1549218491" sldId="697"/>
            <ac:spMk id="16" creationId="{73C994B4-9721-4148-9EEC-6793CECDE8DD}"/>
          </ac:spMkLst>
        </pc:spChg>
        <pc:spChg chg="add">
          <ac:chgData name="Eileen Fleming Suse" userId="S::efs3844@ads.northwestern.edu::725c94ef-d051-42d7-9d33-8572765d592b" providerId="AD" clId="Web-{BFC87AA7-C8F9-9EFC-19DD-EB23F26608F3}" dt="2023-11-16T22:48:43.386" v="0"/>
          <ac:spMkLst>
            <pc:docMk/>
            <pc:sldMk cId="1549218491" sldId="697"/>
            <ac:spMk id="18" creationId="{F9D95E49-763A-4886-B038-82F734740554}"/>
          </ac:spMkLst>
        </pc:spChg>
        <pc:spChg chg="add">
          <ac:chgData name="Eileen Fleming Suse" userId="S::efs3844@ads.northwestern.edu::725c94ef-d051-42d7-9d33-8572765d592b" providerId="AD" clId="Web-{BFC87AA7-C8F9-9EFC-19DD-EB23F26608F3}" dt="2023-11-16T22:48:43.386" v="0"/>
          <ac:spMkLst>
            <pc:docMk/>
            <pc:sldMk cId="1549218491" sldId="697"/>
            <ac:spMk id="20" creationId="{9999CF8B-CF36-4D83-8D39-AFC5726036F9}"/>
          </ac:spMkLst>
        </pc:spChg>
        <pc:spChg chg="add">
          <ac:chgData name="Eileen Fleming Suse" userId="S::efs3844@ads.northwestern.edu::725c94ef-d051-42d7-9d33-8572765d592b" providerId="AD" clId="Web-{BFC87AA7-C8F9-9EFC-19DD-EB23F26608F3}" dt="2023-11-16T22:48:43.386" v="0"/>
          <ac:spMkLst>
            <pc:docMk/>
            <pc:sldMk cId="1549218491" sldId="697"/>
            <ac:spMk id="22" creationId="{91F6D5B9-3D1A-4091-825E-F687A58ADD3F}"/>
          </ac:spMkLst>
        </pc:spChg>
        <pc:picChg chg="add">
          <ac:chgData name="Eileen Fleming Suse" userId="S::efs3844@ads.northwestern.edu::725c94ef-d051-42d7-9d33-8572765d592b" providerId="AD" clId="Web-{BFC87AA7-C8F9-9EFC-19DD-EB23F26608F3}" dt="2023-11-16T22:48:43.386" v="0"/>
          <ac:picMkLst>
            <pc:docMk/>
            <pc:sldMk cId="1549218491" sldId="697"/>
            <ac:picMk id="12" creationId="{ADA65492-88D0-2A8E-83EE-B00D4D4CD6D0}"/>
          </ac:picMkLst>
        </pc:picChg>
        <pc:cxnChg chg="add">
          <ac:chgData name="Eileen Fleming Suse" userId="S::efs3844@ads.northwestern.edu::725c94ef-d051-42d7-9d33-8572765d592b" providerId="AD" clId="Web-{BFC87AA7-C8F9-9EFC-19DD-EB23F26608F3}" dt="2023-11-16T22:48:43.386" v="0"/>
          <ac:cxnSpMkLst>
            <pc:docMk/>
            <pc:sldMk cId="1549218491" sldId="697"/>
            <ac:cxnSpMk id="24" creationId="{F085D7B9-E066-4923-8CB7-294BF306296A}"/>
          </ac:cxnSpMkLst>
        </pc:cxnChg>
        <pc:cxnChg chg="add">
          <ac:chgData name="Eileen Fleming Suse" userId="S::efs3844@ads.northwestern.edu::725c94ef-d051-42d7-9d33-8572765d592b" providerId="AD" clId="Web-{BFC87AA7-C8F9-9EFC-19DD-EB23F26608F3}" dt="2023-11-16T22:48:43.386" v="0"/>
          <ac:cxnSpMkLst>
            <pc:docMk/>
            <pc:sldMk cId="1549218491" sldId="697"/>
            <ac:cxnSpMk id="26" creationId="{25443840-A796-4C43-8DC1-1B738EFEC522}"/>
          </ac:cxnSpMkLst>
        </pc:cxnChg>
      </pc:sldChg>
    </pc:docChg>
  </pc:docChgLst>
  <pc:docChgLst>
    <pc:chgData name="Eileen Fleming Suse" userId="S::efs3844@ads.northwestern.edu::725c94ef-d051-42d7-9d33-8572765d592b" providerId="AD" clId="Web-{4F909934-BF80-9406-F823-1BE12A003AA4}"/>
    <pc:docChg chg="addSld delSld modSld sldOrd">
      <pc:chgData name="Eileen Fleming Suse" userId="S::efs3844@ads.northwestern.edu::725c94ef-d051-42d7-9d33-8572765d592b" providerId="AD" clId="Web-{4F909934-BF80-9406-F823-1BE12A003AA4}" dt="2023-11-20T15:22:24.918" v="13"/>
      <pc:docMkLst>
        <pc:docMk/>
      </pc:docMkLst>
      <pc:sldChg chg="modSp">
        <pc:chgData name="Eileen Fleming Suse" userId="S::efs3844@ads.northwestern.edu::725c94ef-d051-42d7-9d33-8572765d592b" providerId="AD" clId="Web-{4F909934-BF80-9406-F823-1BE12A003AA4}" dt="2023-11-20T15:20:23.900" v="11" actId="1076"/>
        <pc:sldMkLst>
          <pc:docMk/>
          <pc:sldMk cId="4023770579" sldId="654"/>
        </pc:sldMkLst>
        <pc:spChg chg="mod">
          <ac:chgData name="Eileen Fleming Suse" userId="S::efs3844@ads.northwestern.edu::725c94ef-d051-42d7-9d33-8572765d592b" providerId="AD" clId="Web-{4F909934-BF80-9406-F823-1BE12A003AA4}" dt="2023-11-20T15:20:23.900" v="11" actId="1076"/>
          <ac:spMkLst>
            <pc:docMk/>
            <pc:sldMk cId="4023770579" sldId="654"/>
            <ac:spMk id="14" creationId="{700DFE8C-04E0-11F7-1D35-A335A4579AA0}"/>
          </ac:spMkLst>
        </pc:spChg>
      </pc:sldChg>
      <pc:sldChg chg="add del">
        <pc:chgData name="Eileen Fleming Suse" userId="S::efs3844@ads.northwestern.edu::725c94ef-d051-42d7-9d33-8572765d592b" providerId="AD" clId="Web-{4F909934-BF80-9406-F823-1BE12A003AA4}" dt="2023-11-20T15:18:25.740" v="5"/>
        <pc:sldMkLst>
          <pc:docMk/>
          <pc:sldMk cId="1742938802" sldId="745"/>
        </pc:sldMkLst>
      </pc:sldChg>
      <pc:sldChg chg="add del">
        <pc:chgData name="Eileen Fleming Suse" userId="S::efs3844@ads.northwestern.edu::725c94ef-d051-42d7-9d33-8572765d592b" providerId="AD" clId="Web-{4F909934-BF80-9406-F823-1BE12A003AA4}" dt="2023-11-20T15:18:25.709" v="4"/>
        <pc:sldMkLst>
          <pc:docMk/>
          <pc:sldMk cId="3622218340" sldId="746"/>
        </pc:sldMkLst>
      </pc:sldChg>
      <pc:sldChg chg="add ord">
        <pc:chgData name="Eileen Fleming Suse" userId="S::efs3844@ads.northwestern.edu::725c94ef-d051-42d7-9d33-8572765d592b" providerId="AD" clId="Web-{4F909934-BF80-9406-F823-1BE12A003AA4}" dt="2023-11-20T15:19:05.273" v="6"/>
        <pc:sldMkLst>
          <pc:docMk/>
          <pc:sldMk cId="1758158855" sldId="747"/>
        </pc:sldMkLst>
      </pc:sldChg>
      <pc:sldChg chg="add del">
        <pc:chgData name="Eileen Fleming Suse" userId="S::efs3844@ads.northwestern.edu::725c94ef-d051-42d7-9d33-8572765d592b" providerId="AD" clId="Web-{4F909934-BF80-9406-F823-1BE12A003AA4}" dt="2023-11-20T15:20:48.463" v="12"/>
        <pc:sldMkLst>
          <pc:docMk/>
          <pc:sldMk cId="1800076945" sldId="748"/>
        </pc:sldMkLst>
      </pc:sldChg>
      <pc:sldChg chg="new">
        <pc:chgData name="Eileen Fleming Suse" userId="S::efs3844@ads.northwestern.edu::725c94ef-d051-42d7-9d33-8572765d592b" providerId="AD" clId="Web-{4F909934-BF80-9406-F823-1BE12A003AA4}" dt="2023-11-20T15:22:24.918" v="13"/>
        <pc:sldMkLst>
          <pc:docMk/>
          <pc:sldMk cId="3917006652" sldId="748"/>
        </pc:sldMkLst>
      </pc:sldChg>
    </pc:docChg>
  </pc:docChgLst>
  <pc:docChgLst>
    <pc:chgData name="Eileen Fleming Suse" userId="S::efs3844@ads.northwestern.edu::725c94ef-d051-42d7-9d33-8572765d592b" providerId="AD" clId="Web-{AC5E249F-4AD8-EC7C-FB2F-902F01AC2000}"/>
    <pc:docChg chg="addSld delSld modSld sldOrd">
      <pc:chgData name="Eileen Fleming Suse" userId="S::efs3844@ads.northwestern.edu::725c94ef-d051-42d7-9d33-8572765d592b" providerId="AD" clId="Web-{AC5E249F-4AD8-EC7C-FB2F-902F01AC2000}" dt="2023-10-27T16:29:18.072" v="456" actId="1076"/>
      <pc:docMkLst>
        <pc:docMk/>
      </pc:docMkLst>
      <pc:sldChg chg="modSp modNotes">
        <pc:chgData name="Eileen Fleming Suse" userId="S::efs3844@ads.northwestern.edu::725c94ef-d051-42d7-9d33-8572765d592b" providerId="AD" clId="Web-{AC5E249F-4AD8-EC7C-FB2F-902F01AC2000}" dt="2023-10-27T16:29:18.072" v="456" actId="1076"/>
        <pc:sldMkLst>
          <pc:docMk/>
          <pc:sldMk cId="4044691067" sldId="283"/>
        </pc:sldMkLst>
        <pc:spChg chg="mod">
          <ac:chgData name="Eileen Fleming Suse" userId="S::efs3844@ads.northwestern.edu::725c94ef-d051-42d7-9d33-8572765d592b" providerId="AD" clId="Web-{AC5E249F-4AD8-EC7C-FB2F-902F01AC2000}" dt="2023-10-27T16:29:18.072" v="456" actId="1076"/>
          <ac:spMkLst>
            <pc:docMk/>
            <pc:sldMk cId="4044691067" sldId="283"/>
            <ac:spMk id="2" creationId="{00000000-0000-0000-0000-000000000000}"/>
          </ac:spMkLst>
        </pc:spChg>
        <pc:spChg chg="mod">
          <ac:chgData name="Eileen Fleming Suse" userId="S::efs3844@ads.northwestern.edu::725c94ef-d051-42d7-9d33-8572765d592b" providerId="AD" clId="Web-{AC5E249F-4AD8-EC7C-FB2F-902F01AC2000}" dt="2023-10-27T16:29:15.931" v="455" actId="1076"/>
          <ac:spMkLst>
            <pc:docMk/>
            <pc:sldMk cId="4044691067" sldId="283"/>
            <ac:spMk id="3" creationId="{00000000-0000-0000-0000-000000000000}"/>
          </ac:spMkLst>
        </pc:spChg>
        <pc:spChg chg="mod">
          <ac:chgData name="Eileen Fleming Suse" userId="S::efs3844@ads.northwestern.edu::725c94ef-d051-42d7-9d33-8572765d592b" providerId="AD" clId="Web-{AC5E249F-4AD8-EC7C-FB2F-902F01AC2000}" dt="2023-10-27T16:29:10.446" v="454" actId="14100"/>
          <ac:spMkLst>
            <pc:docMk/>
            <pc:sldMk cId="4044691067" sldId="283"/>
            <ac:spMk id="16387" creationId="{00000000-0000-0000-0000-000000000000}"/>
          </ac:spMkLst>
        </pc:spChg>
      </pc:sldChg>
      <pc:sldChg chg="addSp delSp">
        <pc:chgData name="Eileen Fleming Suse" userId="S::efs3844@ads.northwestern.edu::725c94ef-d051-42d7-9d33-8572765d592b" providerId="AD" clId="Web-{AC5E249F-4AD8-EC7C-FB2F-902F01AC2000}" dt="2023-10-26T21:58:41.182" v="151"/>
        <pc:sldMkLst>
          <pc:docMk/>
          <pc:sldMk cId="2351229145" sldId="544"/>
        </pc:sldMkLst>
        <pc:spChg chg="add del">
          <ac:chgData name="Eileen Fleming Suse" userId="S::efs3844@ads.northwestern.edu::725c94ef-d051-42d7-9d33-8572765d592b" providerId="AD" clId="Web-{AC5E249F-4AD8-EC7C-FB2F-902F01AC2000}" dt="2023-10-26T21:58:06.181" v="147"/>
          <ac:spMkLst>
            <pc:docMk/>
            <pc:sldMk cId="2351229145" sldId="544"/>
            <ac:spMk id="5" creationId="{36680922-E1CE-BE2F-3876-A01BCC5F7C11}"/>
          </ac:spMkLst>
        </pc:spChg>
        <pc:spChg chg="add del">
          <ac:chgData name="Eileen Fleming Suse" userId="S::efs3844@ads.northwestern.edu::725c94ef-d051-42d7-9d33-8572765d592b" providerId="AD" clId="Web-{AC5E249F-4AD8-EC7C-FB2F-902F01AC2000}" dt="2023-10-26T21:58:26.150" v="149"/>
          <ac:spMkLst>
            <pc:docMk/>
            <pc:sldMk cId="2351229145" sldId="544"/>
            <ac:spMk id="7" creationId="{DEE6C46D-5131-EC35-0A2F-8AA9AE4340CC}"/>
          </ac:spMkLst>
        </pc:spChg>
        <pc:spChg chg="add del">
          <ac:chgData name="Eileen Fleming Suse" userId="S::efs3844@ads.northwestern.edu::725c94ef-d051-42d7-9d33-8572765d592b" providerId="AD" clId="Web-{AC5E249F-4AD8-EC7C-FB2F-902F01AC2000}" dt="2023-10-26T21:58:41.182" v="151"/>
          <ac:spMkLst>
            <pc:docMk/>
            <pc:sldMk cId="2351229145" sldId="544"/>
            <ac:spMk id="9" creationId="{A6920F2C-76F5-7A5F-BA4C-F207C33F8197}"/>
          </ac:spMkLst>
        </pc:spChg>
      </pc:sldChg>
      <pc:sldChg chg="modSp">
        <pc:chgData name="Eileen Fleming Suse" userId="S::efs3844@ads.northwestern.edu::725c94ef-d051-42d7-9d33-8572765d592b" providerId="AD" clId="Web-{AC5E249F-4AD8-EC7C-FB2F-902F01AC2000}" dt="2023-10-26T19:51:49.576" v="8" actId="20577"/>
        <pc:sldMkLst>
          <pc:docMk/>
          <pc:sldMk cId="1036043289" sldId="546"/>
        </pc:sldMkLst>
        <pc:spChg chg="mod">
          <ac:chgData name="Eileen Fleming Suse" userId="S::efs3844@ads.northwestern.edu::725c94ef-d051-42d7-9d33-8572765d592b" providerId="AD" clId="Web-{AC5E249F-4AD8-EC7C-FB2F-902F01AC2000}" dt="2023-10-26T19:51:49.576" v="8" actId="20577"/>
          <ac:spMkLst>
            <pc:docMk/>
            <pc:sldMk cId="1036043289" sldId="546"/>
            <ac:spMk id="2" creationId="{67E16CF5-47C8-BEAD-25F8-81514DC0AF8B}"/>
          </ac:spMkLst>
        </pc:spChg>
      </pc:sldChg>
      <pc:sldChg chg="del">
        <pc:chgData name="Eileen Fleming Suse" userId="S::efs3844@ads.northwestern.edu::725c94ef-d051-42d7-9d33-8572765d592b" providerId="AD" clId="Web-{AC5E249F-4AD8-EC7C-FB2F-902F01AC2000}" dt="2023-10-26T22:03:16.959" v="182"/>
        <pc:sldMkLst>
          <pc:docMk/>
          <pc:sldMk cId="4024842338" sldId="547"/>
        </pc:sldMkLst>
      </pc:sldChg>
      <pc:sldChg chg="addSp delSp modSp">
        <pc:chgData name="Eileen Fleming Suse" userId="S::efs3844@ads.northwestern.edu::725c94ef-d051-42d7-9d33-8572765d592b" providerId="AD" clId="Web-{AC5E249F-4AD8-EC7C-FB2F-902F01AC2000}" dt="2023-10-26T22:07:46.547" v="215"/>
        <pc:sldMkLst>
          <pc:docMk/>
          <pc:sldMk cId="3067427377" sldId="560"/>
        </pc:sldMkLst>
        <pc:spChg chg="mod">
          <ac:chgData name="Eileen Fleming Suse" userId="S::efs3844@ads.northwestern.edu::725c94ef-d051-42d7-9d33-8572765d592b" providerId="AD" clId="Web-{AC5E249F-4AD8-EC7C-FB2F-902F01AC2000}" dt="2023-10-26T22:07:00.390" v="210" actId="14100"/>
          <ac:spMkLst>
            <pc:docMk/>
            <pc:sldMk cId="3067427377" sldId="560"/>
            <ac:spMk id="3" creationId="{E7ECD19B-85BC-6652-2856-676802964CFA}"/>
          </ac:spMkLst>
        </pc:spChg>
        <pc:spChg chg="add del">
          <ac:chgData name="Eileen Fleming Suse" userId="S::efs3844@ads.northwestern.edu::725c94ef-d051-42d7-9d33-8572765d592b" providerId="AD" clId="Web-{AC5E249F-4AD8-EC7C-FB2F-902F01AC2000}" dt="2023-10-26T22:07:33.687" v="213"/>
          <ac:spMkLst>
            <pc:docMk/>
            <pc:sldMk cId="3067427377" sldId="560"/>
            <ac:spMk id="7" creationId="{A02B2455-F99D-2227-02B8-F9E1B069703B}"/>
          </ac:spMkLst>
        </pc:spChg>
        <pc:spChg chg="add del mod">
          <ac:chgData name="Eileen Fleming Suse" userId="S::efs3844@ads.northwestern.edu::725c94ef-d051-42d7-9d33-8572765d592b" providerId="AD" clId="Web-{AC5E249F-4AD8-EC7C-FB2F-902F01AC2000}" dt="2023-10-26T22:07:22.296" v="212"/>
          <ac:spMkLst>
            <pc:docMk/>
            <pc:sldMk cId="3067427377" sldId="560"/>
            <ac:spMk id="9" creationId="{584AC78D-2AB3-FFCF-7E6D-6AD502FC54D4}"/>
          </ac:spMkLst>
        </pc:spChg>
        <pc:spChg chg="add del">
          <ac:chgData name="Eileen Fleming Suse" userId="S::efs3844@ads.northwestern.edu::725c94ef-d051-42d7-9d33-8572765d592b" providerId="AD" clId="Web-{AC5E249F-4AD8-EC7C-FB2F-902F01AC2000}" dt="2023-10-26T22:07:34.875" v="214"/>
          <ac:spMkLst>
            <pc:docMk/>
            <pc:sldMk cId="3067427377" sldId="560"/>
            <ac:spMk id="11" creationId="{25AE46F6-8873-C45A-4460-9B1E673C65E0}"/>
          </ac:spMkLst>
        </pc:spChg>
        <pc:spChg chg="add del">
          <ac:chgData name="Eileen Fleming Suse" userId="S::efs3844@ads.northwestern.edu::725c94ef-d051-42d7-9d33-8572765d592b" providerId="AD" clId="Web-{AC5E249F-4AD8-EC7C-FB2F-902F01AC2000}" dt="2023-10-26T22:07:46.547" v="215"/>
          <ac:spMkLst>
            <pc:docMk/>
            <pc:sldMk cId="3067427377" sldId="560"/>
            <ac:spMk id="13" creationId="{01F6CB6F-B810-DCDD-2A4B-90C738ED3EA9}"/>
          </ac:spMkLst>
        </pc:spChg>
      </pc:sldChg>
      <pc:sldChg chg="addSp delSp modSp">
        <pc:chgData name="Eileen Fleming Suse" userId="S::efs3844@ads.northwestern.edu::725c94ef-d051-42d7-9d33-8572765d592b" providerId="AD" clId="Web-{AC5E249F-4AD8-EC7C-FB2F-902F01AC2000}" dt="2023-10-26T22:17:19.116" v="276" actId="20577"/>
        <pc:sldMkLst>
          <pc:docMk/>
          <pc:sldMk cId="1141815353" sldId="562"/>
        </pc:sldMkLst>
        <pc:spChg chg="mod">
          <ac:chgData name="Eileen Fleming Suse" userId="S::efs3844@ads.northwestern.edu::725c94ef-d051-42d7-9d33-8572765d592b" providerId="AD" clId="Web-{AC5E249F-4AD8-EC7C-FB2F-902F01AC2000}" dt="2023-10-26T22:08:07.485" v="217" actId="20577"/>
          <ac:spMkLst>
            <pc:docMk/>
            <pc:sldMk cId="1141815353" sldId="562"/>
            <ac:spMk id="2" creationId="{05579FEB-3306-A04E-6516-F16994F3B0F9}"/>
          </ac:spMkLst>
        </pc:spChg>
        <pc:spChg chg="del mod">
          <ac:chgData name="Eileen Fleming Suse" userId="S::efs3844@ads.northwestern.edu::725c94ef-d051-42d7-9d33-8572765d592b" providerId="AD" clId="Web-{AC5E249F-4AD8-EC7C-FB2F-902F01AC2000}" dt="2023-10-26T22:12:46.574" v="249"/>
          <ac:spMkLst>
            <pc:docMk/>
            <pc:sldMk cId="1141815353" sldId="562"/>
            <ac:spMk id="3" creationId="{FAB96473-F45F-5893-CEB0-FAFF66B2B444}"/>
          </ac:spMkLst>
        </pc:spChg>
        <pc:spChg chg="add del mod">
          <ac:chgData name="Eileen Fleming Suse" userId="S::efs3844@ads.northwestern.edu::725c94ef-d051-42d7-9d33-8572765d592b" providerId="AD" clId="Web-{AC5E249F-4AD8-EC7C-FB2F-902F01AC2000}" dt="2023-10-26T22:13:35.529" v="256"/>
          <ac:spMkLst>
            <pc:docMk/>
            <pc:sldMk cId="1141815353" sldId="562"/>
            <ac:spMk id="299" creationId="{133B377F-EBFC-4D3A-E73F-A028F0C56783}"/>
          </ac:spMkLst>
        </pc:spChg>
        <pc:spChg chg="add mod">
          <ac:chgData name="Eileen Fleming Suse" userId="S::efs3844@ads.northwestern.edu::725c94ef-d051-42d7-9d33-8572765d592b" providerId="AD" clId="Web-{AC5E249F-4AD8-EC7C-FB2F-902F01AC2000}" dt="2023-10-26T22:17:19.116" v="276" actId="20577"/>
          <ac:spMkLst>
            <pc:docMk/>
            <pc:sldMk cId="1141815353" sldId="562"/>
            <ac:spMk id="360" creationId="{FE59A3A2-BFF2-9772-51D6-9CCB620AEB53}"/>
          </ac:spMkLst>
        </pc:spChg>
        <pc:graphicFrameChg chg="add del mod modGraphic">
          <ac:chgData name="Eileen Fleming Suse" userId="S::efs3844@ads.northwestern.edu::725c94ef-d051-42d7-9d33-8572765d592b" providerId="AD" clId="Web-{AC5E249F-4AD8-EC7C-FB2F-902F01AC2000}" dt="2023-10-26T22:10:00.037" v="231"/>
          <ac:graphicFrameMkLst>
            <pc:docMk/>
            <pc:sldMk cId="1141815353" sldId="562"/>
            <ac:graphicFrameMk id="4" creationId="{BE75C271-797A-15FE-F5A6-2846FCF41DA5}"/>
          </ac:graphicFrameMkLst>
        </pc:graphicFrameChg>
        <pc:graphicFrameChg chg="add mod modGraphic">
          <ac:chgData name="Eileen Fleming Suse" userId="S::efs3844@ads.northwestern.edu::725c94ef-d051-42d7-9d33-8572765d592b" providerId="AD" clId="Web-{AC5E249F-4AD8-EC7C-FB2F-902F01AC2000}" dt="2023-10-26T22:13:34.733" v="255" actId="1076"/>
          <ac:graphicFrameMkLst>
            <pc:docMk/>
            <pc:sldMk cId="1141815353" sldId="562"/>
            <ac:graphicFrameMk id="137" creationId="{61D68665-D38F-2DB1-AAFC-535C715B7F9F}"/>
          </ac:graphicFrameMkLst>
        </pc:graphicFrameChg>
      </pc:sldChg>
      <pc:sldChg chg="addSp delSp modSp ord">
        <pc:chgData name="Eileen Fleming Suse" userId="S::efs3844@ads.northwestern.edu::725c94ef-d051-42d7-9d33-8572765d592b" providerId="AD" clId="Web-{AC5E249F-4AD8-EC7C-FB2F-902F01AC2000}" dt="2023-10-27T16:06:46.831" v="342" actId="20577"/>
        <pc:sldMkLst>
          <pc:docMk/>
          <pc:sldMk cId="3845418986" sldId="563"/>
        </pc:sldMkLst>
        <pc:spChg chg="del mod">
          <ac:chgData name="Eileen Fleming Suse" userId="S::efs3844@ads.northwestern.edu::725c94ef-d051-42d7-9d33-8572765d592b" providerId="AD" clId="Web-{AC5E249F-4AD8-EC7C-FB2F-902F01AC2000}" dt="2023-10-27T16:05:33.188" v="312"/>
          <ac:spMkLst>
            <pc:docMk/>
            <pc:sldMk cId="3845418986" sldId="563"/>
            <ac:spMk id="2" creationId="{00000000-0000-0000-0000-000000000000}"/>
          </ac:spMkLst>
        </pc:spChg>
        <pc:spChg chg="mod">
          <ac:chgData name="Eileen Fleming Suse" userId="S::efs3844@ads.northwestern.edu::725c94ef-d051-42d7-9d33-8572765d592b" providerId="AD" clId="Web-{AC5E249F-4AD8-EC7C-FB2F-902F01AC2000}" dt="2023-10-27T16:05:40.469" v="313" actId="1076"/>
          <ac:spMkLst>
            <pc:docMk/>
            <pc:sldMk cId="3845418986" sldId="563"/>
            <ac:spMk id="3" creationId="{00000000-0000-0000-0000-000000000000}"/>
          </ac:spMkLst>
        </pc:spChg>
        <pc:spChg chg="del">
          <ac:chgData name="Eileen Fleming Suse" userId="S::efs3844@ads.northwestern.edu::725c94ef-d051-42d7-9d33-8572765d592b" providerId="AD" clId="Web-{AC5E249F-4AD8-EC7C-FB2F-902F01AC2000}" dt="2023-10-26T21:54:44.517" v="141"/>
          <ac:spMkLst>
            <pc:docMk/>
            <pc:sldMk cId="3845418986" sldId="563"/>
            <ac:spMk id="33" creationId="{00000000-0000-0000-0000-000000000000}"/>
          </ac:spMkLst>
        </pc:spChg>
        <pc:spChg chg="add mod">
          <ac:chgData name="Eileen Fleming Suse" userId="S::efs3844@ads.northwestern.edu::725c94ef-d051-42d7-9d33-8572765d592b" providerId="AD" clId="Web-{AC5E249F-4AD8-EC7C-FB2F-902F01AC2000}" dt="2023-10-27T16:06:46.831" v="342" actId="20577"/>
          <ac:spMkLst>
            <pc:docMk/>
            <pc:sldMk cId="3845418986" sldId="563"/>
            <ac:spMk id="33" creationId="{5C2A740E-7A02-31A5-EAAF-9CD8C0A41D47}"/>
          </ac:spMkLst>
        </pc:spChg>
        <pc:spChg chg="mod">
          <ac:chgData name="Eileen Fleming Suse" userId="S::efs3844@ads.northwestern.edu::725c94ef-d051-42d7-9d33-8572765d592b" providerId="AD" clId="Web-{AC5E249F-4AD8-EC7C-FB2F-902F01AC2000}" dt="2023-10-27T16:05:40.891" v="322" actId="1076"/>
          <ac:spMkLst>
            <pc:docMk/>
            <pc:sldMk cId="3845418986" sldId="563"/>
            <ac:spMk id="34" creationId="{00000000-0000-0000-0000-000000000000}"/>
          </ac:spMkLst>
        </pc:spChg>
        <pc:spChg chg="mod">
          <ac:chgData name="Eileen Fleming Suse" userId="S::efs3844@ads.northwestern.edu::725c94ef-d051-42d7-9d33-8572765d592b" providerId="AD" clId="Web-{AC5E249F-4AD8-EC7C-FB2F-902F01AC2000}" dt="2023-10-27T16:05:40.907" v="323" actId="1076"/>
          <ac:spMkLst>
            <pc:docMk/>
            <pc:sldMk cId="3845418986" sldId="563"/>
            <ac:spMk id="35" creationId="{00000000-0000-0000-0000-000000000000}"/>
          </ac:spMkLst>
        </pc:spChg>
        <pc:spChg chg="mod">
          <ac:chgData name="Eileen Fleming Suse" userId="S::efs3844@ads.northwestern.edu::725c94ef-d051-42d7-9d33-8572765d592b" providerId="AD" clId="Web-{AC5E249F-4AD8-EC7C-FB2F-902F01AC2000}" dt="2023-10-27T16:05:40.954" v="324" actId="1076"/>
          <ac:spMkLst>
            <pc:docMk/>
            <pc:sldMk cId="3845418986" sldId="563"/>
            <ac:spMk id="36" creationId="{00000000-0000-0000-0000-000000000000}"/>
          </ac:spMkLst>
        </pc:spChg>
        <pc:spChg chg="mod">
          <ac:chgData name="Eileen Fleming Suse" userId="S::efs3844@ads.northwestern.edu::725c94ef-d051-42d7-9d33-8572765d592b" providerId="AD" clId="Web-{AC5E249F-4AD8-EC7C-FB2F-902F01AC2000}" dt="2023-10-27T16:05:40.985" v="325" actId="1076"/>
          <ac:spMkLst>
            <pc:docMk/>
            <pc:sldMk cId="3845418986" sldId="563"/>
            <ac:spMk id="37" creationId="{00000000-0000-0000-0000-000000000000}"/>
          </ac:spMkLst>
        </pc:spChg>
        <pc:spChg chg="mod">
          <ac:chgData name="Eileen Fleming Suse" userId="S::efs3844@ads.northwestern.edu::725c94ef-d051-42d7-9d33-8572765d592b" providerId="AD" clId="Web-{AC5E249F-4AD8-EC7C-FB2F-902F01AC2000}" dt="2023-10-27T16:05:41.001" v="326" actId="1076"/>
          <ac:spMkLst>
            <pc:docMk/>
            <pc:sldMk cId="3845418986" sldId="563"/>
            <ac:spMk id="38" creationId="{00000000-0000-0000-0000-000000000000}"/>
          </ac:spMkLst>
        </pc:spChg>
        <pc:spChg chg="mod">
          <ac:chgData name="Eileen Fleming Suse" userId="S::efs3844@ads.northwestern.edu::725c94ef-d051-42d7-9d33-8572765d592b" providerId="AD" clId="Web-{AC5E249F-4AD8-EC7C-FB2F-902F01AC2000}" dt="2023-10-27T16:05:41.032" v="327" actId="1076"/>
          <ac:spMkLst>
            <pc:docMk/>
            <pc:sldMk cId="3845418986" sldId="563"/>
            <ac:spMk id="39" creationId="{00000000-0000-0000-0000-000000000000}"/>
          </ac:spMkLst>
        </pc:spChg>
        <pc:spChg chg="mod">
          <ac:chgData name="Eileen Fleming Suse" userId="S::efs3844@ads.northwestern.edu::725c94ef-d051-42d7-9d33-8572765d592b" providerId="AD" clId="Web-{AC5E249F-4AD8-EC7C-FB2F-902F01AC2000}" dt="2023-10-27T16:05:41.079" v="328" actId="1076"/>
          <ac:spMkLst>
            <pc:docMk/>
            <pc:sldMk cId="3845418986" sldId="563"/>
            <ac:spMk id="40" creationId="{00000000-0000-0000-0000-000000000000}"/>
          </ac:spMkLst>
        </pc:spChg>
        <pc:spChg chg="mod">
          <ac:chgData name="Eileen Fleming Suse" userId="S::efs3844@ads.northwestern.edu::725c94ef-d051-42d7-9d33-8572765d592b" providerId="AD" clId="Web-{AC5E249F-4AD8-EC7C-FB2F-902F01AC2000}" dt="2023-10-27T16:05:41.110" v="329" actId="1076"/>
          <ac:spMkLst>
            <pc:docMk/>
            <pc:sldMk cId="3845418986" sldId="563"/>
            <ac:spMk id="41" creationId="{00000000-0000-0000-0000-000000000000}"/>
          </ac:spMkLst>
        </pc:spChg>
        <pc:spChg chg="mod">
          <ac:chgData name="Eileen Fleming Suse" userId="S::efs3844@ads.northwestern.edu::725c94ef-d051-42d7-9d33-8572765d592b" providerId="AD" clId="Web-{AC5E249F-4AD8-EC7C-FB2F-902F01AC2000}" dt="2023-10-27T16:05:41.157" v="330" actId="1076"/>
          <ac:spMkLst>
            <pc:docMk/>
            <pc:sldMk cId="3845418986" sldId="563"/>
            <ac:spMk id="42" creationId="{00000000-0000-0000-0000-000000000000}"/>
          </ac:spMkLst>
        </pc:spChg>
        <pc:spChg chg="mod">
          <ac:chgData name="Eileen Fleming Suse" userId="S::efs3844@ads.northwestern.edu::725c94ef-d051-42d7-9d33-8572765d592b" providerId="AD" clId="Web-{AC5E249F-4AD8-EC7C-FB2F-902F01AC2000}" dt="2023-10-27T16:05:42.798" v="333" actId="1076"/>
          <ac:spMkLst>
            <pc:docMk/>
            <pc:sldMk cId="3845418986" sldId="563"/>
            <ac:spMk id="43" creationId="{00000000-0000-0000-0000-000000000000}"/>
          </ac:spMkLst>
        </pc:spChg>
        <pc:spChg chg="mod">
          <ac:chgData name="Eileen Fleming Suse" userId="S::efs3844@ads.northwestern.edu::725c94ef-d051-42d7-9d33-8572765d592b" providerId="AD" clId="Web-{AC5E249F-4AD8-EC7C-FB2F-902F01AC2000}" dt="2023-10-27T16:05:41.173" v="331" actId="1076"/>
          <ac:spMkLst>
            <pc:docMk/>
            <pc:sldMk cId="3845418986" sldId="563"/>
            <ac:spMk id="44" creationId="{00000000-0000-0000-0000-000000000000}"/>
          </ac:spMkLst>
        </pc:spChg>
        <pc:spChg chg="mod">
          <ac:chgData name="Eileen Fleming Suse" userId="S::efs3844@ads.northwestern.edu::725c94ef-d051-42d7-9d33-8572765d592b" providerId="AD" clId="Web-{AC5E249F-4AD8-EC7C-FB2F-902F01AC2000}" dt="2023-10-27T16:05:41.219" v="332" actId="1076"/>
          <ac:spMkLst>
            <pc:docMk/>
            <pc:sldMk cId="3845418986" sldId="563"/>
            <ac:spMk id="45" creationId="{00000000-0000-0000-0000-000000000000}"/>
          </ac:spMkLst>
        </pc:spChg>
        <pc:spChg chg="del">
          <ac:chgData name="Eileen Fleming Suse" userId="S::efs3844@ads.northwestern.edu::725c94ef-d051-42d7-9d33-8572765d592b" providerId="AD" clId="Web-{AC5E249F-4AD8-EC7C-FB2F-902F01AC2000}" dt="2023-10-26T21:54:44.454" v="140"/>
          <ac:spMkLst>
            <pc:docMk/>
            <pc:sldMk cId="3845418986" sldId="563"/>
            <ac:spMk id="48" creationId="{00000000-0000-0000-0000-000000000000}"/>
          </ac:spMkLst>
        </pc:spChg>
        <pc:spChg chg="add">
          <ac:chgData name="Eileen Fleming Suse" userId="S::efs3844@ads.northwestern.edu::725c94ef-d051-42d7-9d33-8572765d592b" providerId="AD" clId="Web-{AC5E249F-4AD8-EC7C-FB2F-902F01AC2000}" dt="2023-10-26T21:54:44.642" v="142"/>
          <ac:spMkLst>
            <pc:docMk/>
            <pc:sldMk cId="3845418986" sldId="563"/>
            <ac:spMk id="49" creationId="{4FD6BDF7-E6F5-6DC8-9332-E3E0DB7057F0}"/>
          </ac:spMkLst>
        </pc:spChg>
        <pc:spChg chg="add">
          <ac:chgData name="Eileen Fleming Suse" userId="S::efs3844@ads.northwestern.edu::725c94ef-d051-42d7-9d33-8572765d592b" providerId="AD" clId="Web-{AC5E249F-4AD8-EC7C-FB2F-902F01AC2000}" dt="2023-10-26T21:54:44.673" v="143"/>
          <ac:spMkLst>
            <pc:docMk/>
            <pc:sldMk cId="3845418986" sldId="563"/>
            <ac:spMk id="51" creationId="{233EFC40-2641-E728-F412-79899FC6D0D7}"/>
          </ac:spMkLst>
        </pc:spChg>
        <pc:spChg chg="add">
          <ac:chgData name="Eileen Fleming Suse" userId="S::efs3844@ads.northwestern.edu::725c94ef-d051-42d7-9d33-8572765d592b" providerId="AD" clId="Web-{AC5E249F-4AD8-EC7C-FB2F-902F01AC2000}" dt="2023-10-26T21:54:44.704" v="144"/>
          <ac:spMkLst>
            <pc:docMk/>
            <pc:sldMk cId="3845418986" sldId="563"/>
            <ac:spMk id="53" creationId="{66360ABF-1F2C-C63A-9187-17E2573B3DEB}"/>
          </ac:spMkLst>
        </pc:spChg>
        <pc:grpChg chg="mod">
          <ac:chgData name="Eileen Fleming Suse" userId="S::efs3844@ads.northwestern.edu::725c94ef-d051-42d7-9d33-8572765d592b" providerId="AD" clId="Web-{AC5E249F-4AD8-EC7C-FB2F-902F01AC2000}" dt="2023-10-27T16:05:40.548" v="314" actId="1076"/>
          <ac:grpSpMkLst>
            <pc:docMk/>
            <pc:sldMk cId="3845418986" sldId="563"/>
            <ac:grpSpMk id="6" creationId="{00000000-0000-0000-0000-000000000000}"/>
          </ac:grpSpMkLst>
        </pc:grpChg>
        <pc:grpChg chg="mod">
          <ac:chgData name="Eileen Fleming Suse" userId="S::efs3844@ads.northwestern.edu::725c94ef-d051-42d7-9d33-8572765d592b" providerId="AD" clId="Web-{AC5E249F-4AD8-EC7C-FB2F-902F01AC2000}" dt="2023-10-27T16:05:40.594" v="315" actId="1076"/>
          <ac:grpSpMkLst>
            <pc:docMk/>
            <pc:sldMk cId="3845418986" sldId="563"/>
            <ac:grpSpMk id="9" creationId="{00000000-0000-0000-0000-000000000000}"/>
          </ac:grpSpMkLst>
        </pc:grpChg>
        <pc:grpChg chg="mod">
          <ac:chgData name="Eileen Fleming Suse" userId="S::efs3844@ads.northwestern.edu::725c94ef-d051-42d7-9d33-8572765d592b" providerId="AD" clId="Web-{AC5E249F-4AD8-EC7C-FB2F-902F01AC2000}" dt="2023-10-27T16:05:40.641" v="316" actId="1076"/>
          <ac:grpSpMkLst>
            <pc:docMk/>
            <pc:sldMk cId="3845418986" sldId="563"/>
            <ac:grpSpMk id="12" creationId="{00000000-0000-0000-0000-000000000000}"/>
          </ac:grpSpMkLst>
        </pc:grpChg>
        <pc:grpChg chg="mod">
          <ac:chgData name="Eileen Fleming Suse" userId="S::efs3844@ads.northwestern.edu::725c94ef-d051-42d7-9d33-8572765d592b" providerId="AD" clId="Web-{AC5E249F-4AD8-EC7C-FB2F-902F01AC2000}" dt="2023-10-27T16:05:40.688" v="317" actId="1076"/>
          <ac:grpSpMkLst>
            <pc:docMk/>
            <pc:sldMk cId="3845418986" sldId="563"/>
            <ac:grpSpMk id="15" creationId="{00000000-0000-0000-0000-000000000000}"/>
          </ac:grpSpMkLst>
        </pc:grpChg>
        <pc:grpChg chg="mod">
          <ac:chgData name="Eileen Fleming Suse" userId="S::efs3844@ads.northwestern.edu::725c94ef-d051-42d7-9d33-8572765d592b" providerId="AD" clId="Web-{AC5E249F-4AD8-EC7C-FB2F-902F01AC2000}" dt="2023-10-27T16:05:40.719" v="318" actId="1076"/>
          <ac:grpSpMkLst>
            <pc:docMk/>
            <pc:sldMk cId="3845418986" sldId="563"/>
            <ac:grpSpMk id="18" creationId="{00000000-0000-0000-0000-000000000000}"/>
          </ac:grpSpMkLst>
        </pc:grpChg>
        <pc:grpChg chg="mod">
          <ac:chgData name="Eileen Fleming Suse" userId="S::efs3844@ads.northwestern.edu::725c94ef-d051-42d7-9d33-8572765d592b" providerId="AD" clId="Web-{AC5E249F-4AD8-EC7C-FB2F-902F01AC2000}" dt="2023-10-27T16:05:40.751" v="319" actId="1076"/>
          <ac:grpSpMkLst>
            <pc:docMk/>
            <pc:sldMk cId="3845418986" sldId="563"/>
            <ac:grpSpMk id="21" creationId="{00000000-0000-0000-0000-000000000000}"/>
          </ac:grpSpMkLst>
        </pc:grpChg>
        <pc:grpChg chg="mod">
          <ac:chgData name="Eileen Fleming Suse" userId="S::efs3844@ads.northwestern.edu::725c94ef-d051-42d7-9d33-8572765d592b" providerId="AD" clId="Web-{AC5E249F-4AD8-EC7C-FB2F-902F01AC2000}" dt="2023-10-27T16:05:40.797" v="320" actId="1076"/>
          <ac:grpSpMkLst>
            <pc:docMk/>
            <pc:sldMk cId="3845418986" sldId="563"/>
            <ac:grpSpMk id="24" creationId="{00000000-0000-0000-0000-000000000000}"/>
          </ac:grpSpMkLst>
        </pc:grpChg>
        <pc:grpChg chg="mod">
          <ac:chgData name="Eileen Fleming Suse" userId="S::efs3844@ads.northwestern.edu::725c94ef-d051-42d7-9d33-8572765d592b" providerId="AD" clId="Web-{AC5E249F-4AD8-EC7C-FB2F-902F01AC2000}" dt="2023-10-27T16:05:40.860" v="321" actId="1076"/>
          <ac:grpSpMkLst>
            <pc:docMk/>
            <pc:sldMk cId="3845418986" sldId="563"/>
            <ac:grpSpMk id="27" creationId="{00000000-0000-0000-0000-000000000000}"/>
          </ac:grpSpMkLst>
        </pc:grpChg>
      </pc:sldChg>
      <pc:sldChg chg="addSp delSp ord">
        <pc:chgData name="Eileen Fleming Suse" userId="S::efs3844@ads.northwestern.edu::725c94ef-d051-42d7-9d33-8572765d592b" providerId="AD" clId="Web-{AC5E249F-4AD8-EC7C-FB2F-902F01AC2000}" dt="2023-10-26T21:54:29.673" v="139"/>
        <pc:sldMkLst>
          <pc:docMk/>
          <pc:sldMk cId="1536434647" sldId="564"/>
        </pc:sldMkLst>
        <pc:spChg chg="del">
          <ac:chgData name="Eileen Fleming Suse" userId="S::efs3844@ads.northwestern.edu::725c94ef-d051-42d7-9d33-8572765d592b" providerId="AD" clId="Web-{AC5E249F-4AD8-EC7C-FB2F-902F01AC2000}" dt="2023-10-26T21:54:19.438" v="135"/>
          <ac:spMkLst>
            <pc:docMk/>
            <pc:sldMk cId="1536434647" sldId="564"/>
            <ac:spMk id="26" creationId="{00000000-0000-0000-0000-000000000000}"/>
          </ac:spMkLst>
        </pc:spChg>
        <pc:spChg chg="del">
          <ac:chgData name="Eileen Fleming Suse" userId="S::efs3844@ads.northwestern.edu::725c94ef-d051-42d7-9d33-8572765d592b" providerId="AD" clId="Web-{AC5E249F-4AD8-EC7C-FB2F-902F01AC2000}" dt="2023-10-26T21:54:28.954" v="136"/>
          <ac:spMkLst>
            <pc:docMk/>
            <pc:sldMk cId="1536434647" sldId="564"/>
            <ac:spMk id="48" creationId="{00000000-0000-0000-0000-000000000000}"/>
          </ac:spMkLst>
        </pc:spChg>
        <pc:spChg chg="add">
          <ac:chgData name="Eileen Fleming Suse" userId="S::efs3844@ads.northwestern.edu::725c94ef-d051-42d7-9d33-8572765d592b" providerId="AD" clId="Web-{AC5E249F-4AD8-EC7C-FB2F-902F01AC2000}" dt="2023-10-26T21:54:29.579" v="137"/>
          <ac:spMkLst>
            <pc:docMk/>
            <pc:sldMk cId="1536434647" sldId="564"/>
            <ac:spMk id="51" creationId="{DADB789B-D1D8-A439-C1FC-0121F131E706}"/>
          </ac:spMkLst>
        </pc:spChg>
        <pc:spChg chg="add">
          <ac:chgData name="Eileen Fleming Suse" userId="S::efs3844@ads.northwestern.edu::725c94ef-d051-42d7-9d33-8572765d592b" providerId="AD" clId="Web-{AC5E249F-4AD8-EC7C-FB2F-902F01AC2000}" dt="2023-10-26T21:54:29.626" v="138"/>
          <ac:spMkLst>
            <pc:docMk/>
            <pc:sldMk cId="1536434647" sldId="564"/>
            <ac:spMk id="53" creationId="{7AA1F7FA-AA52-FED3-1784-BE66C8A7FBFC}"/>
          </ac:spMkLst>
        </pc:spChg>
        <pc:spChg chg="add">
          <ac:chgData name="Eileen Fleming Suse" userId="S::efs3844@ads.northwestern.edu::725c94ef-d051-42d7-9d33-8572765d592b" providerId="AD" clId="Web-{AC5E249F-4AD8-EC7C-FB2F-902F01AC2000}" dt="2023-10-26T21:54:29.673" v="139"/>
          <ac:spMkLst>
            <pc:docMk/>
            <pc:sldMk cId="1536434647" sldId="564"/>
            <ac:spMk id="55" creationId="{20BABE46-A93F-751A-4C5F-3AC294D73230}"/>
          </ac:spMkLst>
        </pc:spChg>
      </pc:sldChg>
      <pc:sldChg chg="addSp ord">
        <pc:chgData name="Eileen Fleming Suse" userId="S::efs3844@ads.northwestern.edu::725c94ef-d051-42d7-9d33-8572765d592b" providerId="AD" clId="Web-{AC5E249F-4AD8-EC7C-FB2F-902F01AC2000}" dt="2023-10-26T21:54:54.814" v="145"/>
        <pc:sldMkLst>
          <pc:docMk/>
          <pc:sldMk cId="3004937174" sldId="565"/>
        </pc:sldMkLst>
        <pc:spChg chg="add">
          <ac:chgData name="Eileen Fleming Suse" userId="S::efs3844@ads.northwestern.edu::725c94ef-d051-42d7-9d33-8572765d592b" providerId="AD" clId="Web-{AC5E249F-4AD8-EC7C-FB2F-902F01AC2000}" dt="2023-10-26T21:54:54.814" v="145"/>
          <ac:spMkLst>
            <pc:docMk/>
            <pc:sldMk cId="3004937174" sldId="565"/>
            <ac:spMk id="43" creationId="{8306C3D8-831A-F712-3C29-BC96F5346A16}"/>
          </ac:spMkLst>
        </pc:spChg>
      </pc:sldChg>
      <pc:sldChg chg="del">
        <pc:chgData name="Eileen Fleming Suse" userId="S::efs3844@ads.northwestern.edu::725c94ef-d051-42d7-9d33-8572765d592b" providerId="AD" clId="Web-{AC5E249F-4AD8-EC7C-FB2F-902F01AC2000}" dt="2023-10-26T22:00:39.077" v="178"/>
        <pc:sldMkLst>
          <pc:docMk/>
          <pc:sldMk cId="3090389772" sldId="568"/>
        </pc:sldMkLst>
      </pc:sldChg>
      <pc:sldChg chg="del">
        <pc:chgData name="Eileen Fleming Suse" userId="S::efs3844@ads.northwestern.edu::725c94ef-d051-42d7-9d33-8572765d592b" providerId="AD" clId="Web-{AC5E249F-4AD8-EC7C-FB2F-902F01AC2000}" dt="2023-10-26T22:00:39.077" v="177"/>
        <pc:sldMkLst>
          <pc:docMk/>
          <pc:sldMk cId="1088329954" sldId="569"/>
        </pc:sldMkLst>
      </pc:sldChg>
      <pc:sldChg chg="del">
        <pc:chgData name="Eileen Fleming Suse" userId="S::efs3844@ads.northwestern.edu::725c94ef-d051-42d7-9d33-8572765d592b" providerId="AD" clId="Web-{AC5E249F-4AD8-EC7C-FB2F-902F01AC2000}" dt="2023-10-26T22:00:39.077" v="176"/>
        <pc:sldMkLst>
          <pc:docMk/>
          <pc:sldMk cId="2849312483" sldId="570"/>
        </pc:sldMkLst>
      </pc:sldChg>
      <pc:sldChg chg="del">
        <pc:chgData name="Eileen Fleming Suse" userId="S::efs3844@ads.northwestern.edu::725c94ef-d051-42d7-9d33-8572765d592b" providerId="AD" clId="Web-{AC5E249F-4AD8-EC7C-FB2F-902F01AC2000}" dt="2023-10-26T22:00:39.077" v="175"/>
        <pc:sldMkLst>
          <pc:docMk/>
          <pc:sldMk cId="1337825202" sldId="571"/>
        </pc:sldMkLst>
      </pc:sldChg>
      <pc:sldChg chg="del">
        <pc:chgData name="Eileen Fleming Suse" userId="S::efs3844@ads.northwestern.edu::725c94ef-d051-42d7-9d33-8572765d592b" providerId="AD" clId="Web-{AC5E249F-4AD8-EC7C-FB2F-902F01AC2000}" dt="2023-10-26T22:00:39.062" v="174"/>
        <pc:sldMkLst>
          <pc:docMk/>
          <pc:sldMk cId="1568500938" sldId="575"/>
        </pc:sldMkLst>
      </pc:sldChg>
      <pc:sldChg chg="del">
        <pc:chgData name="Eileen Fleming Suse" userId="S::efs3844@ads.northwestern.edu::725c94ef-d051-42d7-9d33-8572765d592b" providerId="AD" clId="Web-{AC5E249F-4AD8-EC7C-FB2F-902F01AC2000}" dt="2023-10-26T22:00:39.062" v="173"/>
        <pc:sldMkLst>
          <pc:docMk/>
          <pc:sldMk cId="1407824229" sldId="576"/>
        </pc:sldMkLst>
      </pc:sldChg>
      <pc:sldChg chg="addSp modSp">
        <pc:chgData name="Eileen Fleming Suse" userId="S::efs3844@ads.northwestern.edu::725c94ef-d051-42d7-9d33-8572765d592b" providerId="AD" clId="Web-{AC5E249F-4AD8-EC7C-FB2F-902F01AC2000}" dt="2023-10-27T16:25:23.018" v="443"/>
        <pc:sldMkLst>
          <pc:docMk/>
          <pc:sldMk cId="785115983" sldId="578"/>
        </pc:sldMkLst>
        <pc:cxnChg chg="add ord">
          <ac:chgData name="Eileen Fleming Suse" userId="S::efs3844@ads.northwestern.edu::725c94ef-d051-42d7-9d33-8572765d592b" providerId="AD" clId="Web-{AC5E249F-4AD8-EC7C-FB2F-902F01AC2000}" dt="2023-10-27T16:25:18.221" v="442"/>
          <ac:cxnSpMkLst>
            <pc:docMk/>
            <pc:sldMk cId="785115983" sldId="578"/>
            <ac:cxnSpMk id="53" creationId="{A7B5C048-F156-0D3C-D55F-4D731E35FA2E}"/>
          </ac:cxnSpMkLst>
        </pc:cxnChg>
        <pc:cxnChg chg="add mod ord">
          <ac:chgData name="Eileen Fleming Suse" userId="S::efs3844@ads.northwestern.edu::725c94ef-d051-42d7-9d33-8572765d592b" providerId="AD" clId="Web-{AC5E249F-4AD8-EC7C-FB2F-902F01AC2000}" dt="2023-10-27T16:25:13.221" v="441"/>
          <ac:cxnSpMkLst>
            <pc:docMk/>
            <pc:sldMk cId="785115983" sldId="578"/>
            <ac:cxnSpMk id="55" creationId="{6352D6FE-962F-E499-92FF-86F2420A2EA5}"/>
          </ac:cxnSpMkLst>
        </pc:cxnChg>
        <pc:cxnChg chg="add mod ord">
          <ac:chgData name="Eileen Fleming Suse" userId="S::efs3844@ads.northwestern.edu::725c94ef-d051-42d7-9d33-8572765d592b" providerId="AD" clId="Web-{AC5E249F-4AD8-EC7C-FB2F-902F01AC2000}" dt="2023-10-27T16:25:23.018" v="443"/>
          <ac:cxnSpMkLst>
            <pc:docMk/>
            <pc:sldMk cId="785115983" sldId="578"/>
            <ac:cxnSpMk id="57" creationId="{20BA68FA-6BDE-2EDB-723C-CD601AB032C2}"/>
          </ac:cxnSpMkLst>
        </pc:cxnChg>
      </pc:sldChg>
      <pc:sldChg chg="addSp modSp">
        <pc:chgData name="Eileen Fleming Suse" userId="S::efs3844@ads.northwestern.edu::725c94ef-d051-42d7-9d33-8572765d592b" providerId="AD" clId="Web-{AC5E249F-4AD8-EC7C-FB2F-902F01AC2000}" dt="2023-10-27T16:24:55.080" v="435"/>
        <pc:sldMkLst>
          <pc:docMk/>
          <pc:sldMk cId="3030449316" sldId="579"/>
        </pc:sldMkLst>
        <pc:spChg chg="mod">
          <ac:chgData name="Eileen Fleming Suse" userId="S::efs3844@ads.northwestern.edu::725c94ef-d051-42d7-9d33-8572765d592b" providerId="AD" clId="Web-{AC5E249F-4AD8-EC7C-FB2F-902F01AC2000}" dt="2023-10-26T22:18:25.994" v="281" actId="14100"/>
          <ac:spMkLst>
            <pc:docMk/>
            <pc:sldMk cId="3030449316" sldId="579"/>
            <ac:spMk id="33" creationId="{00000000-0000-0000-0000-000000000000}"/>
          </ac:spMkLst>
        </pc:spChg>
        <pc:spChg chg="mod">
          <ac:chgData name="Eileen Fleming Suse" userId="S::efs3844@ads.northwestern.edu::725c94ef-d051-42d7-9d33-8572765d592b" providerId="AD" clId="Web-{AC5E249F-4AD8-EC7C-FB2F-902F01AC2000}" dt="2023-10-26T21:53:50.015" v="134" actId="1076"/>
          <ac:spMkLst>
            <pc:docMk/>
            <pc:sldMk cId="3030449316" sldId="579"/>
            <ac:spMk id="44" creationId="{00000000-0000-0000-0000-000000000000}"/>
          </ac:spMkLst>
        </pc:spChg>
        <pc:cxnChg chg="add mod ord">
          <ac:chgData name="Eileen Fleming Suse" userId="S::efs3844@ads.northwestern.edu::725c94ef-d051-42d7-9d33-8572765d592b" providerId="AD" clId="Web-{AC5E249F-4AD8-EC7C-FB2F-902F01AC2000}" dt="2023-10-27T16:24:51.033" v="434"/>
          <ac:cxnSpMkLst>
            <pc:docMk/>
            <pc:sldMk cId="3030449316" sldId="579"/>
            <ac:cxnSpMk id="53" creationId="{A3366110-511F-BCB4-653F-4CCE780C10E1}"/>
          </ac:cxnSpMkLst>
        </pc:cxnChg>
        <pc:cxnChg chg="add mod ord">
          <ac:chgData name="Eileen Fleming Suse" userId="S::efs3844@ads.northwestern.edu::725c94ef-d051-42d7-9d33-8572765d592b" providerId="AD" clId="Web-{AC5E249F-4AD8-EC7C-FB2F-902F01AC2000}" dt="2023-10-27T16:24:46.126" v="433"/>
          <ac:cxnSpMkLst>
            <pc:docMk/>
            <pc:sldMk cId="3030449316" sldId="579"/>
            <ac:cxnSpMk id="54" creationId="{52D6BD58-A1C0-4097-567A-36996C8B9E0B}"/>
          </ac:cxnSpMkLst>
        </pc:cxnChg>
        <pc:cxnChg chg="add mod ord">
          <ac:chgData name="Eileen Fleming Suse" userId="S::efs3844@ads.northwestern.edu::725c94ef-d051-42d7-9d33-8572765d592b" providerId="AD" clId="Web-{AC5E249F-4AD8-EC7C-FB2F-902F01AC2000}" dt="2023-10-27T16:24:55.080" v="435"/>
          <ac:cxnSpMkLst>
            <pc:docMk/>
            <pc:sldMk cId="3030449316" sldId="579"/>
            <ac:cxnSpMk id="55" creationId="{8F46A2E8-EDC0-45C5-E8E6-4A5E6F1F4FA0}"/>
          </ac:cxnSpMkLst>
        </pc:cxnChg>
      </pc:sldChg>
      <pc:sldChg chg="addSp modSp">
        <pc:chgData name="Eileen Fleming Suse" userId="S::efs3844@ads.northwestern.edu::725c94ef-d051-42d7-9d33-8572765d592b" providerId="AD" clId="Web-{AC5E249F-4AD8-EC7C-FB2F-902F01AC2000}" dt="2023-10-27T16:24:18.438" v="425" actId="20577"/>
        <pc:sldMkLst>
          <pc:docMk/>
          <pc:sldMk cId="4283907660" sldId="580"/>
        </pc:sldMkLst>
        <pc:spChg chg="mod">
          <ac:chgData name="Eileen Fleming Suse" userId="S::efs3844@ads.northwestern.edu::725c94ef-d051-42d7-9d33-8572765d592b" providerId="AD" clId="Web-{AC5E249F-4AD8-EC7C-FB2F-902F01AC2000}" dt="2023-10-27T16:23:25.530" v="410" actId="1076"/>
          <ac:spMkLst>
            <pc:docMk/>
            <pc:sldMk cId="4283907660" sldId="580"/>
            <ac:spMk id="20" creationId="{00000000-0000-0000-0000-000000000000}"/>
          </ac:spMkLst>
        </pc:spChg>
        <pc:spChg chg="mod">
          <ac:chgData name="Eileen Fleming Suse" userId="S::efs3844@ads.northwestern.edu::725c94ef-d051-42d7-9d33-8572765d592b" providerId="AD" clId="Web-{AC5E249F-4AD8-EC7C-FB2F-902F01AC2000}" dt="2023-10-27T16:23:06.342" v="405" actId="1076"/>
          <ac:spMkLst>
            <pc:docMk/>
            <pc:sldMk cId="4283907660" sldId="580"/>
            <ac:spMk id="65" creationId="{00000000-0000-0000-0000-000000000000}"/>
          </ac:spMkLst>
        </pc:spChg>
        <pc:spChg chg="mod">
          <ac:chgData name="Eileen Fleming Suse" userId="S::efs3844@ads.northwestern.edu::725c94ef-d051-42d7-9d33-8572765d592b" providerId="AD" clId="Web-{AC5E249F-4AD8-EC7C-FB2F-902F01AC2000}" dt="2023-10-27T16:24:18.438" v="425" actId="20577"/>
          <ac:spMkLst>
            <pc:docMk/>
            <pc:sldMk cId="4283907660" sldId="580"/>
            <ac:spMk id="66" creationId="{00000000-0000-0000-0000-000000000000}"/>
          </ac:spMkLst>
        </pc:spChg>
        <pc:grpChg chg="mod">
          <ac:chgData name="Eileen Fleming Suse" userId="S::efs3844@ads.northwestern.edu::725c94ef-d051-42d7-9d33-8572765d592b" providerId="AD" clId="Web-{AC5E249F-4AD8-EC7C-FB2F-902F01AC2000}" dt="2023-10-27T16:23:06.311" v="404" actId="1076"/>
          <ac:grpSpMkLst>
            <pc:docMk/>
            <pc:sldMk cId="4283907660" sldId="580"/>
            <ac:grpSpMk id="41" creationId="{00000000-0000-0000-0000-000000000000}"/>
          </ac:grpSpMkLst>
        </pc:grpChg>
        <pc:grpChg chg="mod">
          <ac:chgData name="Eileen Fleming Suse" userId="S::efs3844@ads.northwestern.edu::725c94ef-d051-42d7-9d33-8572765d592b" providerId="AD" clId="Web-{AC5E249F-4AD8-EC7C-FB2F-902F01AC2000}" dt="2023-10-27T16:23:25.562" v="411" actId="1076"/>
          <ac:grpSpMkLst>
            <pc:docMk/>
            <pc:sldMk cId="4283907660" sldId="580"/>
            <ac:grpSpMk id="44" creationId="{00000000-0000-0000-0000-000000000000}"/>
          </ac:grpSpMkLst>
        </pc:grpChg>
        <pc:cxnChg chg="add mod ord">
          <ac:chgData name="Eileen Fleming Suse" userId="S::efs3844@ads.northwestern.edu::725c94ef-d051-42d7-9d33-8572765d592b" providerId="AD" clId="Web-{AC5E249F-4AD8-EC7C-FB2F-902F01AC2000}" dt="2023-10-27T16:22:36.779" v="396"/>
          <ac:cxnSpMkLst>
            <pc:docMk/>
            <pc:sldMk cId="4283907660" sldId="580"/>
            <ac:cxnSpMk id="70" creationId="{FAB1A723-05C8-C0B8-46CD-6CEC5D6BBD04}"/>
          </ac:cxnSpMkLst>
        </pc:cxnChg>
        <pc:cxnChg chg="add mod ord">
          <ac:chgData name="Eileen Fleming Suse" userId="S::efs3844@ads.northwestern.edu::725c94ef-d051-42d7-9d33-8572765d592b" providerId="AD" clId="Web-{AC5E249F-4AD8-EC7C-FB2F-902F01AC2000}" dt="2023-10-27T16:22:30.654" v="395"/>
          <ac:cxnSpMkLst>
            <pc:docMk/>
            <pc:sldMk cId="4283907660" sldId="580"/>
            <ac:cxnSpMk id="72" creationId="{707187BC-B253-F405-832D-75199CFA7D3B}"/>
          </ac:cxnSpMkLst>
        </pc:cxnChg>
        <pc:cxnChg chg="add mod">
          <ac:chgData name="Eileen Fleming Suse" userId="S::efs3844@ads.northwestern.edu::725c94ef-d051-42d7-9d33-8572765d592b" providerId="AD" clId="Web-{AC5E249F-4AD8-EC7C-FB2F-902F01AC2000}" dt="2023-10-27T16:23:09.358" v="406" actId="14100"/>
          <ac:cxnSpMkLst>
            <pc:docMk/>
            <pc:sldMk cId="4283907660" sldId="580"/>
            <ac:cxnSpMk id="74" creationId="{34699683-48B1-C584-C969-0FC12DE6D30A}"/>
          </ac:cxnSpMkLst>
        </pc:cxnChg>
        <pc:cxnChg chg="add mod">
          <ac:chgData name="Eileen Fleming Suse" userId="S::efs3844@ads.northwestern.edu::725c94ef-d051-42d7-9d33-8572765d592b" providerId="AD" clId="Web-{AC5E249F-4AD8-EC7C-FB2F-902F01AC2000}" dt="2023-10-27T16:23:30.609" v="414" actId="14100"/>
          <ac:cxnSpMkLst>
            <pc:docMk/>
            <pc:sldMk cId="4283907660" sldId="580"/>
            <ac:cxnSpMk id="76" creationId="{5FBD65C4-D121-6BFF-7A20-CC716D7037AD}"/>
          </ac:cxnSpMkLst>
        </pc:cxnChg>
        <pc:cxnChg chg="add mod">
          <ac:chgData name="Eileen Fleming Suse" userId="S::efs3844@ads.northwestern.edu::725c94ef-d051-42d7-9d33-8572765d592b" providerId="AD" clId="Web-{AC5E249F-4AD8-EC7C-FB2F-902F01AC2000}" dt="2023-10-27T16:23:13.718" v="408" actId="14100"/>
          <ac:cxnSpMkLst>
            <pc:docMk/>
            <pc:sldMk cId="4283907660" sldId="580"/>
            <ac:cxnSpMk id="78" creationId="{DFA24459-913C-819C-1FB9-882C0D69503C}"/>
          </ac:cxnSpMkLst>
        </pc:cxnChg>
        <pc:cxnChg chg="add mod">
          <ac:chgData name="Eileen Fleming Suse" userId="S::efs3844@ads.northwestern.edu::725c94ef-d051-42d7-9d33-8572765d592b" providerId="AD" clId="Web-{AC5E249F-4AD8-EC7C-FB2F-902F01AC2000}" dt="2023-10-27T16:23:52.859" v="419" actId="14100"/>
          <ac:cxnSpMkLst>
            <pc:docMk/>
            <pc:sldMk cId="4283907660" sldId="580"/>
            <ac:cxnSpMk id="80" creationId="{D146EC0A-53E9-15A6-4F6B-C7F1AE321A03}"/>
          </ac:cxnSpMkLst>
        </pc:cxnChg>
      </pc:sldChg>
      <pc:sldChg chg="addSp modSp">
        <pc:chgData name="Eileen Fleming Suse" userId="S::efs3844@ads.northwestern.edu::725c94ef-d051-42d7-9d33-8572765d592b" providerId="AD" clId="Web-{AC5E249F-4AD8-EC7C-FB2F-902F01AC2000}" dt="2023-10-27T16:21:31.137" v="386"/>
        <pc:sldMkLst>
          <pc:docMk/>
          <pc:sldMk cId="3429940818" sldId="581"/>
        </pc:sldMkLst>
        <pc:spChg chg="mod">
          <ac:chgData name="Eileen Fleming Suse" userId="S::efs3844@ads.northwestern.edu::725c94ef-d051-42d7-9d33-8572765d592b" providerId="AD" clId="Web-{AC5E249F-4AD8-EC7C-FB2F-902F01AC2000}" dt="2023-10-26T22:18:16.087" v="279" actId="1076"/>
          <ac:spMkLst>
            <pc:docMk/>
            <pc:sldMk cId="3429940818" sldId="581"/>
            <ac:spMk id="41" creationId="{00000000-0000-0000-0000-000000000000}"/>
          </ac:spMkLst>
        </pc:spChg>
        <pc:spChg chg="mod">
          <ac:chgData name="Eileen Fleming Suse" userId="S::efs3844@ads.northwestern.edu::725c94ef-d051-42d7-9d33-8572765d592b" providerId="AD" clId="Web-{AC5E249F-4AD8-EC7C-FB2F-902F01AC2000}" dt="2023-10-26T22:18:05.962" v="278" actId="14100"/>
          <ac:spMkLst>
            <pc:docMk/>
            <pc:sldMk cId="3429940818" sldId="581"/>
            <ac:spMk id="62" creationId="{00000000-0000-0000-0000-000000000000}"/>
          </ac:spMkLst>
        </pc:spChg>
        <pc:cxnChg chg="add mod">
          <ac:chgData name="Eileen Fleming Suse" userId="S::efs3844@ads.northwestern.edu::725c94ef-d051-42d7-9d33-8572765d592b" providerId="AD" clId="Web-{AC5E249F-4AD8-EC7C-FB2F-902F01AC2000}" dt="2023-10-27T16:19:43.727" v="367" actId="14100"/>
          <ac:cxnSpMkLst>
            <pc:docMk/>
            <pc:sldMk cId="3429940818" sldId="581"/>
            <ac:cxnSpMk id="72" creationId="{9DABEE7E-8BD3-4674-2C98-8E4DD5FD2BA4}"/>
          </ac:cxnSpMkLst>
        </pc:cxnChg>
        <pc:cxnChg chg="add mod">
          <ac:chgData name="Eileen Fleming Suse" userId="S::efs3844@ads.northwestern.edu::725c94ef-d051-42d7-9d33-8572765d592b" providerId="AD" clId="Web-{AC5E249F-4AD8-EC7C-FB2F-902F01AC2000}" dt="2023-10-27T16:19:49.212" v="369" actId="1076"/>
          <ac:cxnSpMkLst>
            <pc:docMk/>
            <pc:sldMk cId="3429940818" sldId="581"/>
            <ac:cxnSpMk id="74" creationId="{BEC4BABB-43C9-9000-ED55-9524836704C3}"/>
          </ac:cxnSpMkLst>
        </pc:cxnChg>
        <pc:cxnChg chg="add mod">
          <ac:chgData name="Eileen Fleming Suse" userId="S::efs3844@ads.northwestern.edu::725c94ef-d051-42d7-9d33-8572765d592b" providerId="AD" clId="Web-{AC5E249F-4AD8-EC7C-FB2F-902F01AC2000}" dt="2023-10-27T16:19:57.868" v="372" actId="14100"/>
          <ac:cxnSpMkLst>
            <pc:docMk/>
            <pc:sldMk cId="3429940818" sldId="581"/>
            <ac:cxnSpMk id="76" creationId="{144ECC94-4093-ABB7-73BA-06FC54548E83}"/>
          </ac:cxnSpMkLst>
        </pc:cxnChg>
        <pc:cxnChg chg="add mod">
          <ac:chgData name="Eileen Fleming Suse" userId="S::efs3844@ads.northwestern.edu::725c94ef-d051-42d7-9d33-8572765d592b" providerId="AD" clId="Web-{AC5E249F-4AD8-EC7C-FB2F-902F01AC2000}" dt="2023-10-27T16:20:22.697" v="379" actId="14100"/>
          <ac:cxnSpMkLst>
            <pc:docMk/>
            <pc:sldMk cId="3429940818" sldId="581"/>
            <ac:cxnSpMk id="78" creationId="{8982FD92-CD8A-7CA9-6F98-CE88B54846B1}"/>
          </ac:cxnSpMkLst>
        </pc:cxnChg>
        <pc:cxnChg chg="add mod ord">
          <ac:chgData name="Eileen Fleming Suse" userId="S::efs3844@ads.northwestern.edu::725c94ef-d051-42d7-9d33-8572765d592b" providerId="AD" clId="Web-{AC5E249F-4AD8-EC7C-FB2F-902F01AC2000}" dt="2023-10-27T16:21:31.137" v="386"/>
          <ac:cxnSpMkLst>
            <pc:docMk/>
            <pc:sldMk cId="3429940818" sldId="581"/>
            <ac:cxnSpMk id="80" creationId="{CAF7AEDC-38D6-4104-8736-1AFA4E6298B5}"/>
          </ac:cxnSpMkLst>
        </pc:cxnChg>
        <pc:cxnChg chg="add mod ord">
          <ac:chgData name="Eileen Fleming Suse" userId="S::efs3844@ads.northwestern.edu::725c94ef-d051-42d7-9d33-8572765d592b" providerId="AD" clId="Web-{AC5E249F-4AD8-EC7C-FB2F-902F01AC2000}" dt="2023-10-27T16:20:51.464" v="385"/>
          <ac:cxnSpMkLst>
            <pc:docMk/>
            <pc:sldMk cId="3429940818" sldId="581"/>
            <ac:cxnSpMk id="82" creationId="{EB8EE064-ABA2-EBF9-9A28-B95446D8989F}"/>
          </ac:cxnSpMkLst>
        </pc:cxnChg>
      </pc:sldChg>
      <pc:sldChg chg="modSp del">
        <pc:chgData name="Eileen Fleming Suse" userId="S::efs3844@ads.northwestern.edu::725c94ef-d051-42d7-9d33-8572765d592b" providerId="AD" clId="Web-{AC5E249F-4AD8-EC7C-FB2F-902F01AC2000}" dt="2023-10-27T16:07:11.566" v="344"/>
        <pc:sldMkLst>
          <pc:docMk/>
          <pc:sldMk cId="4156128006" sldId="582"/>
        </pc:sldMkLst>
        <pc:spChg chg="mod">
          <ac:chgData name="Eileen Fleming Suse" userId="S::efs3844@ads.northwestern.edu::725c94ef-d051-42d7-9d33-8572765d592b" providerId="AD" clId="Web-{AC5E249F-4AD8-EC7C-FB2F-902F01AC2000}" dt="2023-10-27T16:06:53.925" v="343" actId="1076"/>
          <ac:spMkLst>
            <pc:docMk/>
            <pc:sldMk cId="4156128006" sldId="582"/>
            <ac:spMk id="33" creationId="{00000000-0000-0000-0000-000000000000}"/>
          </ac:spMkLst>
        </pc:spChg>
      </pc:sldChg>
      <pc:sldChg chg="addSp modSp add ord">
        <pc:chgData name="Eileen Fleming Suse" userId="S::efs3844@ads.northwestern.edu::725c94ef-d051-42d7-9d33-8572765d592b" providerId="AD" clId="Web-{AC5E249F-4AD8-EC7C-FB2F-902F01AC2000}" dt="2023-10-27T16:15:16.423" v="349" actId="20577"/>
        <pc:sldMkLst>
          <pc:docMk/>
          <pc:sldMk cId="3561966490" sldId="585"/>
        </pc:sldMkLst>
        <pc:spChg chg="mod">
          <ac:chgData name="Eileen Fleming Suse" userId="S::efs3844@ads.northwestern.edu::725c94ef-d051-42d7-9d33-8572765d592b" providerId="AD" clId="Web-{AC5E249F-4AD8-EC7C-FB2F-902F01AC2000}" dt="2023-10-26T21:47:17.828" v="29" actId="1076"/>
          <ac:spMkLst>
            <pc:docMk/>
            <pc:sldMk cId="3561966490" sldId="585"/>
            <ac:spMk id="4" creationId="{00000000-0000-0000-0000-000000000000}"/>
          </ac:spMkLst>
        </pc:spChg>
        <pc:spChg chg="mod">
          <ac:chgData name="Eileen Fleming Suse" userId="S::efs3844@ads.northwestern.edu::725c94ef-d051-42d7-9d33-8572765d592b" providerId="AD" clId="Web-{AC5E249F-4AD8-EC7C-FB2F-902F01AC2000}" dt="2023-10-26T21:47:17.281" v="28" actId="1076"/>
          <ac:spMkLst>
            <pc:docMk/>
            <pc:sldMk cId="3561966490" sldId="585"/>
            <ac:spMk id="19" creationId="{00000000-0000-0000-0000-000000000000}"/>
          </ac:spMkLst>
        </pc:spChg>
        <pc:spChg chg="mod">
          <ac:chgData name="Eileen Fleming Suse" userId="S::efs3844@ads.northwestern.edu::725c94ef-d051-42d7-9d33-8572765d592b" providerId="AD" clId="Web-{AC5E249F-4AD8-EC7C-FB2F-902F01AC2000}" dt="2023-10-27T16:15:16.423" v="349" actId="20577"/>
          <ac:spMkLst>
            <pc:docMk/>
            <pc:sldMk cId="3561966490" sldId="585"/>
            <ac:spMk id="21" creationId="{00000000-0000-0000-0000-000000000000}"/>
          </ac:spMkLst>
        </pc:spChg>
        <pc:spChg chg="add mod">
          <ac:chgData name="Eileen Fleming Suse" userId="S::efs3844@ads.northwestern.edu::725c94ef-d051-42d7-9d33-8572765d592b" providerId="AD" clId="Web-{AC5E249F-4AD8-EC7C-FB2F-902F01AC2000}" dt="2023-10-26T21:47:17.938" v="30" actId="1076"/>
          <ac:spMkLst>
            <pc:docMk/>
            <pc:sldMk cId="3561966490" sldId="585"/>
            <ac:spMk id="24" creationId="{A8E8476A-44CA-2C4D-B3E7-31C44865373F}"/>
          </ac:spMkLst>
        </pc:spChg>
      </pc:sldChg>
      <pc:sldChg chg="addSp delSp modSp add ord">
        <pc:chgData name="Eileen Fleming Suse" userId="S::efs3844@ads.northwestern.edu::725c94ef-d051-42d7-9d33-8572765d592b" providerId="AD" clId="Web-{AC5E249F-4AD8-EC7C-FB2F-902F01AC2000}" dt="2023-10-27T16:15:54.174" v="364" actId="14100"/>
        <pc:sldMkLst>
          <pc:docMk/>
          <pc:sldMk cId="3809547791" sldId="586"/>
        </pc:sldMkLst>
        <pc:spChg chg="del">
          <ac:chgData name="Eileen Fleming Suse" userId="S::efs3844@ads.northwestern.edu::725c94ef-d051-42d7-9d33-8572765d592b" providerId="AD" clId="Web-{AC5E249F-4AD8-EC7C-FB2F-902F01AC2000}" dt="2023-10-26T21:47:33.578" v="33"/>
          <ac:spMkLst>
            <pc:docMk/>
            <pc:sldMk cId="3809547791" sldId="586"/>
            <ac:spMk id="4" creationId="{00000000-0000-0000-0000-000000000000}"/>
          </ac:spMkLst>
        </pc:spChg>
        <pc:spChg chg="del mod">
          <ac:chgData name="Eileen Fleming Suse" userId="S::efs3844@ads.northwestern.edu::725c94ef-d051-42d7-9d33-8572765d592b" providerId="AD" clId="Web-{AC5E249F-4AD8-EC7C-FB2F-902F01AC2000}" dt="2023-10-26T21:47:33.516" v="32"/>
          <ac:spMkLst>
            <pc:docMk/>
            <pc:sldMk cId="3809547791" sldId="586"/>
            <ac:spMk id="37" creationId="{00000000-0000-0000-0000-000000000000}"/>
          </ac:spMkLst>
        </pc:spChg>
        <pc:spChg chg="mod">
          <ac:chgData name="Eileen Fleming Suse" userId="S::efs3844@ads.northwestern.edu::725c94ef-d051-42d7-9d33-8572765d592b" providerId="AD" clId="Web-{AC5E249F-4AD8-EC7C-FB2F-902F01AC2000}" dt="2023-10-27T16:15:54.174" v="364" actId="14100"/>
          <ac:spMkLst>
            <pc:docMk/>
            <pc:sldMk cId="3809547791" sldId="586"/>
            <ac:spMk id="41" creationId="{00000000-0000-0000-0000-000000000000}"/>
          </ac:spMkLst>
        </pc:spChg>
        <pc:spChg chg="mod">
          <ac:chgData name="Eileen Fleming Suse" userId="S::efs3844@ads.northwestern.edu::725c94ef-d051-42d7-9d33-8572765d592b" providerId="AD" clId="Web-{AC5E249F-4AD8-EC7C-FB2F-902F01AC2000}" dt="2023-10-26T21:46:19.794" v="20" actId="20577"/>
          <ac:spMkLst>
            <pc:docMk/>
            <pc:sldMk cId="3809547791" sldId="586"/>
            <ac:spMk id="42" creationId="{00000000-0000-0000-0000-000000000000}"/>
          </ac:spMkLst>
        </pc:spChg>
        <pc:spChg chg="add">
          <ac:chgData name="Eileen Fleming Suse" userId="S::efs3844@ads.northwestern.edu::725c94ef-d051-42d7-9d33-8572765d592b" providerId="AD" clId="Web-{AC5E249F-4AD8-EC7C-FB2F-902F01AC2000}" dt="2023-10-26T21:47:33.735" v="34"/>
          <ac:spMkLst>
            <pc:docMk/>
            <pc:sldMk cId="3809547791" sldId="586"/>
            <ac:spMk id="45" creationId="{C77E478B-4FF6-99F3-8EF6-9EC4CBF20CDC}"/>
          </ac:spMkLst>
        </pc:spChg>
        <pc:spChg chg="add">
          <ac:chgData name="Eileen Fleming Suse" userId="S::efs3844@ads.northwestern.edu::725c94ef-d051-42d7-9d33-8572765d592b" providerId="AD" clId="Web-{AC5E249F-4AD8-EC7C-FB2F-902F01AC2000}" dt="2023-10-26T21:47:33.750" v="35"/>
          <ac:spMkLst>
            <pc:docMk/>
            <pc:sldMk cId="3809547791" sldId="586"/>
            <ac:spMk id="47" creationId="{B8E0B5F5-B6A2-711D-2F6F-422E5E01B221}"/>
          </ac:spMkLst>
        </pc:spChg>
        <pc:spChg chg="add">
          <ac:chgData name="Eileen Fleming Suse" userId="S::efs3844@ads.northwestern.edu::725c94ef-d051-42d7-9d33-8572765d592b" providerId="AD" clId="Web-{AC5E249F-4AD8-EC7C-FB2F-902F01AC2000}" dt="2023-10-26T21:47:33.781" v="36"/>
          <ac:spMkLst>
            <pc:docMk/>
            <pc:sldMk cId="3809547791" sldId="586"/>
            <ac:spMk id="49" creationId="{725D5EF5-B77D-B401-7AC5-22CFBF1AA913}"/>
          </ac:spMkLst>
        </pc:spChg>
      </pc:sldChg>
      <pc:sldChg chg="addSp delSp modSp add ord">
        <pc:chgData name="Eileen Fleming Suse" userId="S::efs3844@ads.northwestern.edu::725c94ef-d051-42d7-9d33-8572765d592b" providerId="AD" clId="Web-{AC5E249F-4AD8-EC7C-FB2F-902F01AC2000}" dt="2023-10-27T16:13:30.342" v="345" actId="1076"/>
        <pc:sldMkLst>
          <pc:docMk/>
          <pc:sldMk cId="1598854783" sldId="587"/>
        </pc:sldMkLst>
        <pc:spChg chg="del">
          <ac:chgData name="Eileen Fleming Suse" userId="S::efs3844@ads.northwestern.edu::725c94ef-d051-42d7-9d33-8572765d592b" providerId="AD" clId="Web-{AC5E249F-4AD8-EC7C-FB2F-902F01AC2000}" dt="2023-10-26T21:48:54.894" v="58"/>
          <ac:spMkLst>
            <pc:docMk/>
            <pc:sldMk cId="1598854783" sldId="587"/>
            <ac:spMk id="31" creationId="{00000000-0000-0000-0000-000000000000}"/>
          </ac:spMkLst>
        </pc:spChg>
        <pc:spChg chg="mod">
          <ac:chgData name="Eileen Fleming Suse" userId="S::efs3844@ads.northwestern.edu::725c94ef-d051-42d7-9d33-8572765d592b" providerId="AD" clId="Web-{AC5E249F-4AD8-EC7C-FB2F-902F01AC2000}" dt="2023-10-26T21:52:40.637" v="124" actId="20577"/>
          <ac:spMkLst>
            <pc:docMk/>
            <pc:sldMk cId="1598854783" sldId="587"/>
            <ac:spMk id="36" creationId="{00000000-0000-0000-0000-000000000000}"/>
          </ac:spMkLst>
        </pc:spChg>
        <pc:spChg chg="mod">
          <ac:chgData name="Eileen Fleming Suse" userId="S::efs3844@ads.northwestern.edu::725c94ef-d051-42d7-9d33-8572765d592b" providerId="AD" clId="Web-{AC5E249F-4AD8-EC7C-FB2F-902F01AC2000}" dt="2023-10-26T21:51:27.275" v="105" actId="20577"/>
          <ac:spMkLst>
            <pc:docMk/>
            <pc:sldMk cId="1598854783" sldId="587"/>
            <ac:spMk id="37" creationId="{00000000-0000-0000-0000-000000000000}"/>
          </ac:spMkLst>
        </pc:spChg>
        <pc:spChg chg="mod">
          <ac:chgData name="Eileen Fleming Suse" userId="S::efs3844@ads.northwestern.edu::725c94ef-d051-42d7-9d33-8572765d592b" providerId="AD" clId="Web-{AC5E249F-4AD8-EC7C-FB2F-902F01AC2000}" dt="2023-10-26T21:52:40.387" v="123" actId="20577"/>
          <ac:spMkLst>
            <pc:docMk/>
            <pc:sldMk cId="1598854783" sldId="587"/>
            <ac:spMk id="38" creationId="{00000000-0000-0000-0000-000000000000}"/>
          </ac:spMkLst>
        </pc:spChg>
        <pc:spChg chg="mod">
          <ac:chgData name="Eileen Fleming Suse" userId="S::efs3844@ads.northwestern.edu::725c94ef-d051-42d7-9d33-8572765d592b" providerId="AD" clId="Web-{AC5E249F-4AD8-EC7C-FB2F-902F01AC2000}" dt="2023-10-26T21:51:27.619" v="108" actId="20577"/>
          <ac:spMkLst>
            <pc:docMk/>
            <pc:sldMk cId="1598854783" sldId="587"/>
            <ac:spMk id="39" creationId="{00000000-0000-0000-0000-000000000000}"/>
          </ac:spMkLst>
        </pc:spChg>
        <pc:spChg chg="mod">
          <ac:chgData name="Eileen Fleming Suse" userId="S::efs3844@ads.northwestern.edu::725c94ef-d051-42d7-9d33-8572765d592b" providerId="AD" clId="Web-{AC5E249F-4AD8-EC7C-FB2F-902F01AC2000}" dt="2023-10-26T21:53:11.091" v="133" actId="1076"/>
          <ac:spMkLst>
            <pc:docMk/>
            <pc:sldMk cId="1598854783" sldId="587"/>
            <ac:spMk id="40" creationId="{00000000-0000-0000-0000-000000000000}"/>
          </ac:spMkLst>
        </pc:spChg>
        <pc:spChg chg="mod">
          <ac:chgData name="Eileen Fleming Suse" userId="S::efs3844@ads.northwestern.edu::725c94ef-d051-42d7-9d33-8572765d592b" providerId="AD" clId="Web-{AC5E249F-4AD8-EC7C-FB2F-902F01AC2000}" dt="2023-10-26T21:52:55.356" v="128" actId="20577"/>
          <ac:spMkLst>
            <pc:docMk/>
            <pc:sldMk cId="1598854783" sldId="587"/>
            <ac:spMk id="42" creationId="{00000000-0000-0000-0000-000000000000}"/>
          </ac:spMkLst>
        </pc:spChg>
        <pc:spChg chg="mod">
          <ac:chgData name="Eileen Fleming Suse" userId="S::efs3844@ads.northwestern.edu::725c94ef-d051-42d7-9d33-8572765d592b" providerId="AD" clId="Web-{AC5E249F-4AD8-EC7C-FB2F-902F01AC2000}" dt="2023-10-26T21:51:31.041" v="110" actId="20577"/>
          <ac:spMkLst>
            <pc:docMk/>
            <pc:sldMk cId="1598854783" sldId="587"/>
            <ac:spMk id="43" creationId="{00000000-0000-0000-0000-000000000000}"/>
          </ac:spMkLst>
        </pc:spChg>
        <pc:spChg chg="mod">
          <ac:chgData name="Eileen Fleming Suse" userId="S::efs3844@ads.northwestern.edu::725c94ef-d051-42d7-9d33-8572765d592b" providerId="AD" clId="Web-{AC5E249F-4AD8-EC7C-FB2F-902F01AC2000}" dt="2023-10-26T21:48:56.488" v="65" actId="1076"/>
          <ac:spMkLst>
            <pc:docMk/>
            <pc:sldMk cId="1598854783" sldId="587"/>
            <ac:spMk id="45" creationId="{00000000-0000-0000-0000-000000000000}"/>
          </ac:spMkLst>
        </pc:spChg>
        <pc:spChg chg="del mod">
          <ac:chgData name="Eileen Fleming Suse" userId="S::efs3844@ads.northwestern.edu::725c94ef-d051-42d7-9d33-8572765d592b" providerId="AD" clId="Web-{AC5E249F-4AD8-EC7C-FB2F-902F01AC2000}" dt="2023-10-26T21:48:55.363" v="61"/>
          <ac:spMkLst>
            <pc:docMk/>
            <pc:sldMk cId="1598854783" sldId="587"/>
            <ac:spMk id="46" creationId="{00000000-0000-0000-0000-000000000000}"/>
          </ac:spMkLst>
        </pc:spChg>
        <pc:spChg chg="mod">
          <ac:chgData name="Eileen Fleming Suse" userId="S::efs3844@ads.northwestern.edu::725c94ef-d051-42d7-9d33-8572765d592b" providerId="AD" clId="Web-{AC5E249F-4AD8-EC7C-FB2F-902F01AC2000}" dt="2023-10-27T16:13:30.342" v="345" actId="1076"/>
          <ac:spMkLst>
            <pc:docMk/>
            <pc:sldMk cId="1598854783" sldId="587"/>
            <ac:spMk id="47" creationId="{00000000-0000-0000-0000-000000000000}"/>
          </ac:spMkLst>
        </pc:spChg>
        <pc:spChg chg="add">
          <ac:chgData name="Eileen Fleming Suse" userId="S::efs3844@ads.northwestern.edu::725c94ef-d051-42d7-9d33-8572765d592b" providerId="AD" clId="Web-{AC5E249F-4AD8-EC7C-FB2F-902F01AC2000}" dt="2023-10-26T21:48:55.675" v="62"/>
          <ac:spMkLst>
            <pc:docMk/>
            <pc:sldMk cId="1598854783" sldId="587"/>
            <ac:spMk id="49" creationId="{E2210AC7-88E9-3DF2-B6FD-284390179A81}"/>
          </ac:spMkLst>
        </pc:spChg>
        <pc:spChg chg="add">
          <ac:chgData name="Eileen Fleming Suse" userId="S::efs3844@ads.northwestern.edu::725c94ef-d051-42d7-9d33-8572765d592b" providerId="AD" clId="Web-{AC5E249F-4AD8-EC7C-FB2F-902F01AC2000}" dt="2023-10-26T21:48:55.707" v="63"/>
          <ac:spMkLst>
            <pc:docMk/>
            <pc:sldMk cId="1598854783" sldId="587"/>
            <ac:spMk id="51" creationId="{24A2DEC9-4CC0-CBF0-5D9A-524D9EFAEE1C}"/>
          </ac:spMkLst>
        </pc:spChg>
        <pc:spChg chg="add">
          <ac:chgData name="Eileen Fleming Suse" userId="S::efs3844@ads.northwestern.edu::725c94ef-d051-42d7-9d33-8572765d592b" providerId="AD" clId="Web-{AC5E249F-4AD8-EC7C-FB2F-902F01AC2000}" dt="2023-10-26T21:48:55.738" v="64"/>
          <ac:spMkLst>
            <pc:docMk/>
            <pc:sldMk cId="1598854783" sldId="587"/>
            <ac:spMk id="53" creationId="{0E0706BB-4123-83DA-E93A-66A50F4484A3}"/>
          </ac:spMkLst>
        </pc:spChg>
      </pc:sldChg>
      <pc:sldChg chg="addSp delSp modSp add ord">
        <pc:chgData name="Eileen Fleming Suse" userId="S::efs3844@ads.northwestern.edu::725c94ef-d051-42d7-9d33-8572765d592b" providerId="AD" clId="Web-{AC5E249F-4AD8-EC7C-FB2F-902F01AC2000}" dt="2023-10-26T21:51:10.837" v="103" actId="1076"/>
        <pc:sldMkLst>
          <pc:docMk/>
          <pc:sldMk cId="3832963388" sldId="588"/>
        </pc:sldMkLst>
        <pc:spChg chg="del">
          <ac:chgData name="Eileen Fleming Suse" userId="S::efs3844@ads.northwestern.edu::725c94ef-d051-42d7-9d33-8572765d592b" providerId="AD" clId="Web-{AC5E249F-4AD8-EC7C-FB2F-902F01AC2000}" dt="2023-10-26T21:49:27.208" v="68"/>
          <ac:spMkLst>
            <pc:docMk/>
            <pc:sldMk cId="3832963388" sldId="588"/>
            <ac:spMk id="4" creationId="{00000000-0000-0000-0000-000000000000}"/>
          </ac:spMkLst>
        </pc:spChg>
        <pc:spChg chg="mod">
          <ac:chgData name="Eileen Fleming Suse" userId="S::efs3844@ads.northwestern.edu::725c94ef-d051-42d7-9d33-8572765d592b" providerId="AD" clId="Web-{AC5E249F-4AD8-EC7C-FB2F-902F01AC2000}" dt="2023-10-26T21:51:10.602" v="98" actId="1076"/>
          <ac:spMkLst>
            <pc:docMk/>
            <pc:sldMk cId="3832963388" sldId="588"/>
            <ac:spMk id="15" creationId="{00000000-0000-0000-0000-000000000000}"/>
          </ac:spMkLst>
        </pc:spChg>
        <pc:spChg chg="mod">
          <ac:chgData name="Eileen Fleming Suse" userId="S::efs3844@ads.northwestern.edu::725c94ef-d051-42d7-9d33-8572765d592b" providerId="AD" clId="Web-{AC5E249F-4AD8-EC7C-FB2F-902F01AC2000}" dt="2023-10-26T21:51:10.634" v="99" actId="1076"/>
          <ac:spMkLst>
            <pc:docMk/>
            <pc:sldMk cId="3832963388" sldId="588"/>
            <ac:spMk id="16" creationId="{00000000-0000-0000-0000-000000000000}"/>
          </ac:spMkLst>
        </pc:spChg>
        <pc:spChg chg="mod">
          <ac:chgData name="Eileen Fleming Suse" userId="S::efs3844@ads.northwestern.edu::725c94ef-d051-42d7-9d33-8572765d592b" providerId="AD" clId="Web-{AC5E249F-4AD8-EC7C-FB2F-902F01AC2000}" dt="2023-10-26T21:51:10.680" v="100" actId="1076"/>
          <ac:spMkLst>
            <pc:docMk/>
            <pc:sldMk cId="3832963388" sldId="588"/>
            <ac:spMk id="17" creationId="{00000000-0000-0000-0000-000000000000}"/>
          </ac:spMkLst>
        </pc:spChg>
        <pc:spChg chg="mod">
          <ac:chgData name="Eileen Fleming Suse" userId="S::efs3844@ads.northwestern.edu::725c94ef-d051-42d7-9d33-8572765d592b" providerId="AD" clId="Web-{AC5E249F-4AD8-EC7C-FB2F-902F01AC2000}" dt="2023-10-26T21:51:10.743" v="101" actId="1076"/>
          <ac:spMkLst>
            <pc:docMk/>
            <pc:sldMk cId="3832963388" sldId="588"/>
            <ac:spMk id="18" creationId="{00000000-0000-0000-0000-000000000000}"/>
          </ac:spMkLst>
        </pc:spChg>
        <pc:spChg chg="mod">
          <ac:chgData name="Eileen Fleming Suse" userId="S::efs3844@ads.northwestern.edu::725c94ef-d051-42d7-9d33-8572765d592b" providerId="AD" clId="Web-{AC5E249F-4AD8-EC7C-FB2F-902F01AC2000}" dt="2023-10-26T21:51:10.790" v="102" actId="1076"/>
          <ac:spMkLst>
            <pc:docMk/>
            <pc:sldMk cId="3832963388" sldId="588"/>
            <ac:spMk id="19" creationId="{00000000-0000-0000-0000-000000000000}"/>
          </ac:spMkLst>
        </pc:spChg>
        <pc:spChg chg="mod">
          <ac:chgData name="Eileen Fleming Suse" userId="S::efs3844@ads.northwestern.edu::725c94ef-d051-42d7-9d33-8572765d592b" providerId="AD" clId="Web-{AC5E249F-4AD8-EC7C-FB2F-902F01AC2000}" dt="2023-10-26T21:51:10.837" v="103" actId="1076"/>
          <ac:spMkLst>
            <pc:docMk/>
            <pc:sldMk cId="3832963388" sldId="588"/>
            <ac:spMk id="20" creationId="{00000000-0000-0000-0000-000000000000}"/>
          </ac:spMkLst>
        </pc:spChg>
        <pc:spChg chg="mod">
          <ac:chgData name="Eileen Fleming Suse" userId="S::efs3844@ads.northwestern.edu::725c94ef-d051-42d7-9d33-8572765d592b" providerId="AD" clId="Web-{AC5E249F-4AD8-EC7C-FB2F-902F01AC2000}" dt="2023-10-26T21:49:27.723" v="72" actId="1076"/>
          <ac:spMkLst>
            <pc:docMk/>
            <pc:sldMk cId="3832963388" sldId="588"/>
            <ac:spMk id="22" creationId="{00000000-0000-0000-0000-000000000000}"/>
          </ac:spMkLst>
        </pc:spChg>
        <pc:spChg chg="del">
          <ac:chgData name="Eileen Fleming Suse" userId="S::efs3844@ads.northwestern.edu::725c94ef-d051-42d7-9d33-8572765d592b" providerId="AD" clId="Web-{AC5E249F-4AD8-EC7C-FB2F-902F01AC2000}" dt="2023-10-26T21:49:26.473" v="67"/>
          <ac:spMkLst>
            <pc:docMk/>
            <pc:sldMk cId="3832963388" sldId="588"/>
            <ac:spMk id="23" creationId="{00000000-0000-0000-0000-000000000000}"/>
          </ac:spMkLst>
        </pc:spChg>
        <pc:spChg chg="mod">
          <ac:chgData name="Eileen Fleming Suse" userId="S::efs3844@ads.northwestern.edu::725c94ef-d051-42d7-9d33-8572765d592b" providerId="AD" clId="Web-{AC5E249F-4AD8-EC7C-FB2F-902F01AC2000}" dt="2023-10-26T21:50:41.961" v="91" actId="1076"/>
          <ac:spMkLst>
            <pc:docMk/>
            <pc:sldMk cId="3832963388" sldId="588"/>
            <ac:spMk id="24" creationId="{00000000-0000-0000-0000-000000000000}"/>
          </ac:spMkLst>
        </pc:spChg>
        <pc:spChg chg="mod">
          <ac:chgData name="Eileen Fleming Suse" userId="S::efs3844@ads.northwestern.edu::725c94ef-d051-42d7-9d33-8572765d592b" providerId="AD" clId="Web-{AC5E249F-4AD8-EC7C-FB2F-902F01AC2000}" dt="2023-10-26T21:50:27.913" v="88" actId="1076"/>
          <ac:spMkLst>
            <pc:docMk/>
            <pc:sldMk cId="3832963388" sldId="588"/>
            <ac:spMk id="25" creationId="{00000000-0000-0000-0000-000000000000}"/>
          </ac:spMkLst>
        </pc:spChg>
        <pc:spChg chg="mod">
          <ac:chgData name="Eileen Fleming Suse" userId="S::efs3844@ads.northwestern.edu::725c94ef-d051-42d7-9d33-8572765d592b" providerId="AD" clId="Web-{AC5E249F-4AD8-EC7C-FB2F-902F01AC2000}" dt="2023-10-26T21:50:27.038" v="85" actId="1076"/>
          <ac:spMkLst>
            <pc:docMk/>
            <pc:sldMk cId="3832963388" sldId="588"/>
            <ac:spMk id="26" creationId="{00000000-0000-0000-0000-000000000000}"/>
          </ac:spMkLst>
        </pc:spChg>
        <pc:spChg chg="mod">
          <ac:chgData name="Eileen Fleming Suse" userId="S::efs3844@ads.northwestern.edu::725c94ef-d051-42d7-9d33-8572765d592b" providerId="AD" clId="Web-{AC5E249F-4AD8-EC7C-FB2F-902F01AC2000}" dt="2023-10-26T21:50:56.242" v="94" actId="1076"/>
          <ac:spMkLst>
            <pc:docMk/>
            <pc:sldMk cId="3832963388" sldId="588"/>
            <ac:spMk id="27" creationId="{00000000-0000-0000-0000-000000000000}"/>
          </ac:spMkLst>
        </pc:spChg>
        <pc:spChg chg="mod">
          <ac:chgData name="Eileen Fleming Suse" userId="S::efs3844@ads.northwestern.edu::725c94ef-d051-42d7-9d33-8572765d592b" providerId="AD" clId="Web-{AC5E249F-4AD8-EC7C-FB2F-902F01AC2000}" dt="2023-10-26T21:50:56.274" v="95" actId="1076"/>
          <ac:spMkLst>
            <pc:docMk/>
            <pc:sldMk cId="3832963388" sldId="588"/>
            <ac:spMk id="28" creationId="{00000000-0000-0000-0000-000000000000}"/>
          </ac:spMkLst>
        </pc:spChg>
        <pc:spChg chg="mod">
          <ac:chgData name="Eileen Fleming Suse" userId="S::efs3844@ads.northwestern.edu::725c94ef-d051-42d7-9d33-8572765d592b" providerId="AD" clId="Web-{AC5E249F-4AD8-EC7C-FB2F-902F01AC2000}" dt="2023-10-26T21:50:41.336" v="89" actId="1076"/>
          <ac:spMkLst>
            <pc:docMk/>
            <pc:sldMk cId="3832963388" sldId="588"/>
            <ac:spMk id="29" creationId="{00000000-0000-0000-0000-000000000000}"/>
          </ac:spMkLst>
        </pc:spChg>
        <pc:spChg chg="mod">
          <ac:chgData name="Eileen Fleming Suse" userId="S::efs3844@ads.northwestern.edu::725c94ef-d051-42d7-9d33-8572765d592b" providerId="AD" clId="Web-{AC5E249F-4AD8-EC7C-FB2F-902F01AC2000}" dt="2023-10-26T21:50:27.101" v="86" actId="1076"/>
          <ac:spMkLst>
            <pc:docMk/>
            <pc:sldMk cId="3832963388" sldId="588"/>
            <ac:spMk id="30" creationId="{00000000-0000-0000-0000-000000000000}"/>
          </ac:spMkLst>
        </pc:spChg>
        <pc:spChg chg="mod">
          <ac:chgData name="Eileen Fleming Suse" userId="S::efs3844@ads.northwestern.edu::725c94ef-d051-42d7-9d33-8572765d592b" providerId="AD" clId="Web-{AC5E249F-4AD8-EC7C-FB2F-902F01AC2000}" dt="2023-10-26T21:50:27.163" v="87" actId="1076"/>
          <ac:spMkLst>
            <pc:docMk/>
            <pc:sldMk cId="3832963388" sldId="588"/>
            <ac:spMk id="31" creationId="{00000000-0000-0000-0000-000000000000}"/>
          </ac:spMkLst>
        </pc:spChg>
        <pc:spChg chg="mod">
          <ac:chgData name="Eileen Fleming Suse" userId="S::efs3844@ads.northwestern.edu::725c94ef-d051-42d7-9d33-8572765d592b" providerId="AD" clId="Web-{AC5E249F-4AD8-EC7C-FB2F-902F01AC2000}" dt="2023-10-26T21:50:56.321" v="96" actId="1076"/>
          <ac:spMkLst>
            <pc:docMk/>
            <pc:sldMk cId="3832963388" sldId="588"/>
            <ac:spMk id="32" creationId="{00000000-0000-0000-0000-000000000000}"/>
          </ac:spMkLst>
        </pc:spChg>
        <pc:spChg chg="mod">
          <ac:chgData name="Eileen Fleming Suse" userId="S::efs3844@ads.northwestern.edu::725c94ef-d051-42d7-9d33-8572765d592b" providerId="AD" clId="Web-{AC5E249F-4AD8-EC7C-FB2F-902F01AC2000}" dt="2023-10-26T21:50:56.367" v="97" actId="1076"/>
          <ac:spMkLst>
            <pc:docMk/>
            <pc:sldMk cId="3832963388" sldId="588"/>
            <ac:spMk id="33" creationId="{00000000-0000-0000-0000-000000000000}"/>
          </ac:spMkLst>
        </pc:spChg>
        <pc:spChg chg="mod">
          <ac:chgData name="Eileen Fleming Suse" userId="S::efs3844@ads.northwestern.edu::725c94ef-d051-42d7-9d33-8572765d592b" providerId="AD" clId="Web-{AC5E249F-4AD8-EC7C-FB2F-902F01AC2000}" dt="2023-10-26T21:45:55.043" v="18" actId="20577"/>
          <ac:spMkLst>
            <pc:docMk/>
            <pc:sldMk cId="3832963388" sldId="588"/>
            <ac:spMk id="34" creationId="{00000000-0000-0000-0000-000000000000}"/>
          </ac:spMkLst>
        </pc:spChg>
        <pc:spChg chg="add">
          <ac:chgData name="Eileen Fleming Suse" userId="S::efs3844@ads.northwestern.edu::725c94ef-d051-42d7-9d33-8572765d592b" providerId="AD" clId="Web-{AC5E249F-4AD8-EC7C-FB2F-902F01AC2000}" dt="2023-10-26T21:49:27.426" v="69"/>
          <ac:spMkLst>
            <pc:docMk/>
            <pc:sldMk cId="3832963388" sldId="588"/>
            <ac:spMk id="36" creationId="{3EFC5C80-E693-6C51-4DEF-583812BEAB54}"/>
          </ac:spMkLst>
        </pc:spChg>
        <pc:spChg chg="add">
          <ac:chgData name="Eileen Fleming Suse" userId="S::efs3844@ads.northwestern.edu::725c94ef-d051-42d7-9d33-8572765d592b" providerId="AD" clId="Web-{AC5E249F-4AD8-EC7C-FB2F-902F01AC2000}" dt="2023-10-26T21:49:27.489" v="70"/>
          <ac:spMkLst>
            <pc:docMk/>
            <pc:sldMk cId="3832963388" sldId="588"/>
            <ac:spMk id="38" creationId="{9B32A794-89CE-3CF7-CCFB-FB03BB567C6D}"/>
          </ac:spMkLst>
        </pc:spChg>
        <pc:spChg chg="add">
          <ac:chgData name="Eileen Fleming Suse" userId="S::efs3844@ads.northwestern.edu::725c94ef-d051-42d7-9d33-8572765d592b" providerId="AD" clId="Web-{AC5E249F-4AD8-EC7C-FB2F-902F01AC2000}" dt="2023-10-26T21:49:27.551" v="71"/>
          <ac:spMkLst>
            <pc:docMk/>
            <pc:sldMk cId="3832963388" sldId="588"/>
            <ac:spMk id="40" creationId="{75C1E2E3-7399-8294-DAEC-AEBB0FCAC9D7}"/>
          </ac:spMkLst>
        </pc:spChg>
        <pc:grpChg chg="mod">
          <ac:chgData name="Eileen Fleming Suse" userId="S::efs3844@ads.northwestern.edu::725c94ef-d051-42d7-9d33-8572765d592b" providerId="AD" clId="Web-{AC5E249F-4AD8-EC7C-FB2F-902F01AC2000}" dt="2023-10-26T21:50:56.149" v="92" actId="1076"/>
          <ac:grpSpMkLst>
            <pc:docMk/>
            <pc:sldMk cId="3832963388" sldId="588"/>
            <ac:grpSpMk id="5" creationId="{00000000-0000-0000-0000-000000000000}"/>
          </ac:grpSpMkLst>
        </pc:grpChg>
        <pc:grpChg chg="mod">
          <ac:chgData name="Eileen Fleming Suse" userId="S::efs3844@ads.northwestern.edu::725c94ef-d051-42d7-9d33-8572765d592b" providerId="AD" clId="Web-{AC5E249F-4AD8-EC7C-FB2F-902F01AC2000}" dt="2023-10-26T21:50:26.944" v="83" actId="1076"/>
          <ac:grpSpMkLst>
            <pc:docMk/>
            <pc:sldMk cId="3832963388" sldId="588"/>
            <ac:grpSpMk id="7" creationId="{00000000-0000-0000-0000-000000000000}"/>
          </ac:grpSpMkLst>
        </pc:grpChg>
        <pc:grpChg chg="mod">
          <ac:chgData name="Eileen Fleming Suse" userId="S::efs3844@ads.northwestern.edu::725c94ef-d051-42d7-9d33-8572765d592b" providerId="AD" clId="Web-{AC5E249F-4AD8-EC7C-FB2F-902F01AC2000}" dt="2023-10-26T21:50:26.991" v="84" actId="1076"/>
          <ac:grpSpMkLst>
            <pc:docMk/>
            <pc:sldMk cId="3832963388" sldId="588"/>
            <ac:grpSpMk id="9" creationId="{00000000-0000-0000-0000-000000000000}"/>
          </ac:grpSpMkLst>
        </pc:grpChg>
        <pc:grpChg chg="mod">
          <ac:chgData name="Eileen Fleming Suse" userId="S::efs3844@ads.northwestern.edu::725c94ef-d051-42d7-9d33-8572765d592b" providerId="AD" clId="Web-{AC5E249F-4AD8-EC7C-FB2F-902F01AC2000}" dt="2023-10-26T21:50:41.836" v="90" actId="1076"/>
          <ac:grpSpMkLst>
            <pc:docMk/>
            <pc:sldMk cId="3832963388" sldId="588"/>
            <ac:grpSpMk id="11" creationId="{00000000-0000-0000-0000-000000000000}"/>
          </ac:grpSpMkLst>
        </pc:grpChg>
        <pc:grpChg chg="mod">
          <ac:chgData name="Eileen Fleming Suse" userId="S::efs3844@ads.northwestern.edu::725c94ef-d051-42d7-9d33-8572765d592b" providerId="AD" clId="Web-{AC5E249F-4AD8-EC7C-FB2F-902F01AC2000}" dt="2023-10-26T21:50:56.196" v="93" actId="1076"/>
          <ac:grpSpMkLst>
            <pc:docMk/>
            <pc:sldMk cId="3832963388" sldId="588"/>
            <ac:grpSpMk id="13" creationId="{00000000-0000-0000-0000-000000000000}"/>
          </ac:grpSpMkLst>
        </pc:grpChg>
      </pc:sldChg>
      <pc:sldChg chg="addSp delSp modSp add ord">
        <pc:chgData name="Eileen Fleming Suse" userId="S::efs3844@ads.northwestern.edu::725c94ef-d051-42d7-9d33-8572765d592b" providerId="AD" clId="Web-{AC5E249F-4AD8-EC7C-FB2F-902F01AC2000}" dt="2023-10-27T16:13:42.624" v="346"/>
        <pc:sldMkLst>
          <pc:docMk/>
          <pc:sldMk cId="435998680" sldId="589"/>
        </pc:sldMkLst>
        <pc:spChg chg="del">
          <ac:chgData name="Eileen Fleming Suse" userId="S::efs3844@ads.northwestern.edu::725c94ef-d051-42d7-9d33-8572765d592b" providerId="AD" clId="Web-{AC5E249F-4AD8-EC7C-FB2F-902F01AC2000}" dt="2023-10-26T21:47:48.595" v="38"/>
          <ac:spMkLst>
            <pc:docMk/>
            <pc:sldMk cId="435998680" sldId="589"/>
            <ac:spMk id="4" creationId="{00000000-0000-0000-0000-000000000000}"/>
          </ac:spMkLst>
        </pc:spChg>
        <pc:spChg chg="del mod">
          <ac:chgData name="Eileen Fleming Suse" userId="S::efs3844@ads.northwestern.edu::725c94ef-d051-42d7-9d33-8572765d592b" providerId="AD" clId="Web-{AC5E249F-4AD8-EC7C-FB2F-902F01AC2000}" dt="2023-10-26T21:47:50.360" v="40"/>
          <ac:spMkLst>
            <pc:docMk/>
            <pc:sldMk cId="435998680" sldId="589"/>
            <ac:spMk id="12" creationId="{00000000-0000-0000-0000-000000000000}"/>
          </ac:spMkLst>
        </pc:spChg>
        <pc:spChg chg="mod">
          <ac:chgData name="Eileen Fleming Suse" userId="S::efs3844@ads.northwestern.edu::725c94ef-d051-42d7-9d33-8572765d592b" providerId="AD" clId="Web-{AC5E249F-4AD8-EC7C-FB2F-902F01AC2000}" dt="2023-10-26T21:45:51.981" v="16" actId="20577"/>
          <ac:spMkLst>
            <pc:docMk/>
            <pc:sldMk cId="435998680" sldId="589"/>
            <ac:spMk id="17" creationId="{00000000-0000-0000-0000-000000000000}"/>
          </ac:spMkLst>
        </pc:spChg>
        <pc:spChg chg="add">
          <ac:chgData name="Eileen Fleming Suse" userId="S::efs3844@ads.northwestern.edu::725c94ef-d051-42d7-9d33-8572765d592b" providerId="AD" clId="Web-{AC5E249F-4AD8-EC7C-FB2F-902F01AC2000}" dt="2023-10-26T21:47:51.751" v="41"/>
          <ac:spMkLst>
            <pc:docMk/>
            <pc:sldMk cId="435998680" sldId="589"/>
            <ac:spMk id="19" creationId="{4F38B046-5CD5-F005-45E3-2034830DFD34}"/>
          </ac:spMkLst>
        </pc:spChg>
        <pc:spChg chg="add">
          <ac:chgData name="Eileen Fleming Suse" userId="S::efs3844@ads.northwestern.edu::725c94ef-d051-42d7-9d33-8572765d592b" providerId="AD" clId="Web-{AC5E249F-4AD8-EC7C-FB2F-902F01AC2000}" dt="2023-10-26T21:47:51.798" v="42"/>
          <ac:spMkLst>
            <pc:docMk/>
            <pc:sldMk cId="435998680" sldId="589"/>
            <ac:spMk id="21" creationId="{A35E0C3C-CC22-A1A0-8E94-9EEE65798BD1}"/>
          </ac:spMkLst>
        </pc:spChg>
        <pc:spChg chg="add">
          <ac:chgData name="Eileen Fleming Suse" userId="S::efs3844@ads.northwestern.edu::725c94ef-d051-42d7-9d33-8572765d592b" providerId="AD" clId="Web-{AC5E249F-4AD8-EC7C-FB2F-902F01AC2000}" dt="2023-10-26T21:47:51.813" v="43"/>
          <ac:spMkLst>
            <pc:docMk/>
            <pc:sldMk cId="435998680" sldId="589"/>
            <ac:spMk id="23" creationId="{4187CCE4-601B-24DB-941F-235B18EDE475}"/>
          </ac:spMkLst>
        </pc:spChg>
      </pc:sldChg>
      <pc:sldChg chg="addSp delSp add ord">
        <pc:chgData name="Eileen Fleming Suse" userId="S::efs3844@ads.northwestern.edu::725c94ef-d051-42d7-9d33-8572765d592b" providerId="AD" clId="Web-{AC5E249F-4AD8-EC7C-FB2F-902F01AC2000}" dt="2023-10-26T21:48:38.488" v="55"/>
        <pc:sldMkLst>
          <pc:docMk/>
          <pc:sldMk cId="595546358" sldId="590"/>
        </pc:sldMkLst>
        <pc:spChg chg="del">
          <ac:chgData name="Eileen Fleming Suse" userId="S::efs3844@ads.northwestern.edu::725c94ef-d051-42d7-9d33-8572765d592b" providerId="AD" clId="Web-{AC5E249F-4AD8-EC7C-FB2F-902F01AC2000}" dt="2023-10-26T21:48:24.174" v="49"/>
          <ac:spMkLst>
            <pc:docMk/>
            <pc:sldMk cId="595546358" sldId="590"/>
            <ac:spMk id="4" creationId="{00000000-0000-0000-0000-000000000000}"/>
          </ac:spMkLst>
        </pc:spChg>
        <pc:spChg chg="del">
          <ac:chgData name="Eileen Fleming Suse" userId="S::efs3844@ads.northwestern.edu::725c94ef-d051-42d7-9d33-8572765d592b" providerId="AD" clId="Web-{AC5E249F-4AD8-EC7C-FB2F-902F01AC2000}" dt="2023-10-26T21:48:24.283" v="50"/>
          <ac:spMkLst>
            <pc:docMk/>
            <pc:sldMk cId="595546358" sldId="590"/>
            <ac:spMk id="23" creationId="{00000000-0000-0000-0000-000000000000}"/>
          </ac:spMkLst>
        </pc:spChg>
        <pc:spChg chg="add">
          <ac:chgData name="Eileen Fleming Suse" userId="S::efs3844@ads.northwestern.edu::725c94ef-d051-42d7-9d33-8572765d592b" providerId="AD" clId="Web-{AC5E249F-4AD8-EC7C-FB2F-902F01AC2000}" dt="2023-10-26T21:48:24.393" v="51"/>
          <ac:spMkLst>
            <pc:docMk/>
            <pc:sldMk cId="595546358" sldId="590"/>
            <ac:spMk id="30" creationId="{53721EF8-C35D-834E-9339-D65FFE7AFF9A}"/>
          </ac:spMkLst>
        </pc:spChg>
        <pc:spChg chg="add">
          <ac:chgData name="Eileen Fleming Suse" userId="S::efs3844@ads.northwestern.edu::725c94ef-d051-42d7-9d33-8572765d592b" providerId="AD" clId="Web-{AC5E249F-4AD8-EC7C-FB2F-902F01AC2000}" dt="2023-10-26T21:48:24.408" v="52"/>
          <ac:spMkLst>
            <pc:docMk/>
            <pc:sldMk cId="595546358" sldId="590"/>
            <ac:spMk id="32" creationId="{F1AED984-C21E-AA63-E34E-DA61BCE8401F}"/>
          </ac:spMkLst>
        </pc:spChg>
        <pc:spChg chg="add">
          <ac:chgData name="Eileen Fleming Suse" userId="S::efs3844@ads.northwestern.edu::725c94ef-d051-42d7-9d33-8572765d592b" providerId="AD" clId="Web-{AC5E249F-4AD8-EC7C-FB2F-902F01AC2000}" dt="2023-10-26T21:48:24.424" v="53"/>
          <ac:spMkLst>
            <pc:docMk/>
            <pc:sldMk cId="595546358" sldId="590"/>
            <ac:spMk id="34" creationId="{6A9EBE99-61D6-2DC0-EB79-B633C9D91DD8}"/>
          </ac:spMkLst>
        </pc:spChg>
      </pc:sldChg>
      <pc:sldChg chg="addSp delSp add">
        <pc:chgData name="Eileen Fleming Suse" userId="S::efs3844@ads.northwestern.edu::725c94ef-d051-42d7-9d33-8572765d592b" providerId="AD" clId="Web-{AC5E249F-4AD8-EC7C-FB2F-902F01AC2000}" dt="2023-10-26T21:48:09.330" v="48"/>
        <pc:sldMkLst>
          <pc:docMk/>
          <pc:sldMk cId="629433230" sldId="591"/>
        </pc:sldMkLst>
        <pc:spChg chg="del">
          <ac:chgData name="Eileen Fleming Suse" userId="S::efs3844@ads.northwestern.edu::725c94ef-d051-42d7-9d33-8572765d592b" providerId="AD" clId="Web-{AC5E249F-4AD8-EC7C-FB2F-902F01AC2000}" dt="2023-10-26T21:48:05.861" v="44"/>
          <ac:spMkLst>
            <pc:docMk/>
            <pc:sldMk cId="629433230" sldId="591"/>
            <ac:spMk id="4" creationId="{00000000-0000-0000-0000-000000000000}"/>
          </ac:spMkLst>
        </pc:spChg>
        <pc:spChg chg="del">
          <ac:chgData name="Eileen Fleming Suse" userId="S::efs3844@ads.northwestern.edu::725c94ef-d051-42d7-9d33-8572765d592b" providerId="AD" clId="Web-{AC5E249F-4AD8-EC7C-FB2F-902F01AC2000}" dt="2023-10-26T21:48:08.158" v="45"/>
          <ac:spMkLst>
            <pc:docMk/>
            <pc:sldMk cId="629433230" sldId="591"/>
            <ac:spMk id="16" creationId="{00000000-0000-0000-0000-000000000000}"/>
          </ac:spMkLst>
        </pc:spChg>
        <pc:spChg chg="add">
          <ac:chgData name="Eileen Fleming Suse" userId="S::efs3844@ads.northwestern.edu::725c94ef-d051-42d7-9d33-8572765d592b" providerId="AD" clId="Web-{AC5E249F-4AD8-EC7C-FB2F-902F01AC2000}" dt="2023-10-26T21:48:09.252" v="46"/>
          <ac:spMkLst>
            <pc:docMk/>
            <pc:sldMk cId="629433230" sldId="591"/>
            <ac:spMk id="24" creationId="{82DED22A-2957-2107-97D2-7694FF88F0A5}"/>
          </ac:spMkLst>
        </pc:spChg>
        <pc:spChg chg="add">
          <ac:chgData name="Eileen Fleming Suse" userId="S::efs3844@ads.northwestern.edu::725c94ef-d051-42d7-9d33-8572765d592b" providerId="AD" clId="Web-{AC5E249F-4AD8-EC7C-FB2F-902F01AC2000}" dt="2023-10-26T21:48:09.298" v="47"/>
          <ac:spMkLst>
            <pc:docMk/>
            <pc:sldMk cId="629433230" sldId="591"/>
            <ac:spMk id="26" creationId="{7ADA2A22-B85F-E8A9-52B3-7FA1A111EB25}"/>
          </ac:spMkLst>
        </pc:spChg>
        <pc:spChg chg="add">
          <ac:chgData name="Eileen Fleming Suse" userId="S::efs3844@ads.northwestern.edu::725c94ef-d051-42d7-9d33-8572765d592b" providerId="AD" clId="Web-{AC5E249F-4AD8-EC7C-FB2F-902F01AC2000}" dt="2023-10-26T21:48:09.330" v="48"/>
          <ac:spMkLst>
            <pc:docMk/>
            <pc:sldMk cId="629433230" sldId="591"/>
            <ac:spMk id="28" creationId="{D3AD1992-E406-9041-27DE-F66F0C777757}"/>
          </ac:spMkLst>
        </pc:spChg>
      </pc:sldChg>
      <pc:sldChg chg="add del addCm">
        <pc:chgData name="Eileen Fleming Suse" userId="S::efs3844@ads.northwestern.edu::725c94ef-d051-42d7-9d33-8572765d592b" providerId="AD" clId="Web-{AC5E249F-4AD8-EC7C-FB2F-902F01AC2000}" dt="2023-10-26T22:01:28.298" v="179"/>
        <pc:sldMkLst>
          <pc:docMk/>
          <pc:sldMk cId="4102962722" sldId="592"/>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AC5E249F-4AD8-EC7C-FB2F-902F01AC2000}" dt="2023-10-26T22:01:28.298" v="179"/>
              <pc2:cmMkLst xmlns:pc2="http://schemas.microsoft.com/office/powerpoint/2019/9/main/command">
                <pc:docMk/>
                <pc:sldMk cId="4102962722" sldId="592"/>
                <pc2:cmMk id="{ED77AB97-E80B-44F4-80E6-44E381970832}"/>
              </pc2:cmMkLst>
            </pc226:cmChg>
          </p:ext>
        </pc:extLst>
      </pc:sldChg>
      <pc:sldChg chg="add del">
        <pc:chgData name="Eileen Fleming Suse" userId="S::efs3844@ads.northwestern.edu::725c94ef-d051-42d7-9d33-8572765d592b" providerId="AD" clId="Web-{AC5E249F-4AD8-EC7C-FB2F-902F01AC2000}" dt="2023-10-26T21:59:49.607" v="171"/>
        <pc:sldMkLst>
          <pc:docMk/>
          <pc:sldMk cId="3969440120" sldId="593"/>
        </pc:sldMkLst>
      </pc:sldChg>
      <pc:sldChg chg="add del">
        <pc:chgData name="Eileen Fleming Suse" userId="S::efs3844@ads.northwestern.edu::725c94ef-d051-42d7-9d33-8572765d592b" providerId="AD" clId="Web-{AC5E249F-4AD8-EC7C-FB2F-902F01AC2000}" dt="2023-10-26T21:59:49.497" v="170"/>
        <pc:sldMkLst>
          <pc:docMk/>
          <pc:sldMk cId="2412661198" sldId="594"/>
        </pc:sldMkLst>
      </pc:sldChg>
      <pc:sldChg chg="add del">
        <pc:chgData name="Eileen Fleming Suse" userId="S::efs3844@ads.northwestern.edu::725c94ef-d051-42d7-9d33-8572765d592b" providerId="AD" clId="Web-{AC5E249F-4AD8-EC7C-FB2F-902F01AC2000}" dt="2023-10-26T21:59:49.404" v="169"/>
        <pc:sldMkLst>
          <pc:docMk/>
          <pc:sldMk cId="3516145000" sldId="595"/>
        </pc:sldMkLst>
      </pc:sldChg>
      <pc:sldChg chg="add del">
        <pc:chgData name="Eileen Fleming Suse" userId="S::efs3844@ads.northwestern.edu::725c94ef-d051-42d7-9d33-8572765d592b" providerId="AD" clId="Web-{AC5E249F-4AD8-EC7C-FB2F-902F01AC2000}" dt="2023-10-26T21:59:49.341" v="168"/>
        <pc:sldMkLst>
          <pc:docMk/>
          <pc:sldMk cId="2417460478" sldId="596"/>
        </pc:sldMkLst>
      </pc:sldChg>
      <pc:sldChg chg="add del">
        <pc:chgData name="Eileen Fleming Suse" userId="S::efs3844@ads.northwestern.edu::725c94ef-d051-42d7-9d33-8572765d592b" providerId="AD" clId="Web-{AC5E249F-4AD8-EC7C-FB2F-902F01AC2000}" dt="2023-10-26T21:59:49.279" v="167"/>
        <pc:sldMkLst>
          <pc:docMk/>
          <pc:sldMk cId="81318788" sldId="597"/>
        </pc:sldMkLst>
      </pc:sldChg>
      <pc:sldChg chg="add del addCm delCm">
        <pc:chgData name="Eileen Fleming Suse" userId="S::efs3844@ads.northwestern.edu::725c94ef-d051-42d7-9d33-8572765d592b" providerId="AD" clId="Web-{AC5E249F-4AD8-EC7C-FB2F-902F01AC2000}" dt="2023-10-26T22:03:03.911" v="181"/>
        <pc:sldMkLst>
          <pc:docMk/>
          <pc:sldMk cId="1569232529" sldId="598"/>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AC5E249F-4AD8-EC7C-FB2F-902F01AC2000}" dt="2023-10-26T22:01:39.986" v="180"/>
              <pc2:cmMkLst xmlns:pc2="http://schemas.microsoft.com/office/powerpoint/2019/9/main/command">
                <pc:docMk/>
                <pc:sldMk cId="1569232529" sldId="598"/>
                <pc2:cmMk id="{137A254D-2737-4985-B0AB-6839DDC46AE0}"/>
              </pc2:cmMkLst>
            </pc226:cmChg>
            <pc226:cmChg xmlns:pc226="http://schemas.microsoft.com/office/powerpoint/2022/06/main/command" chg="add">
              <pc226:chgData name="Eileen Fleming Suse" userId="S::efs3844@ads.northwestern.edu::725c94ef-d051-42d7-9d33-8572765d592b" providerId="AD" clId="Web-{AC5E249F-4AD8-EC7C-FB2F-902F01AC2000}" dt="2023-10-26T22:03:03.911" v="181"/>
              <pc2:cmMkLst xmlns:pc2="http://schemas.microsoft.com/office/powerpoint/2019/9/main/command">
                <pc:docMk/>
                <pc:sldMk cId="1569232529" sldId="598"/>
                <pc2:cmMk id="{6C353279-3DE6-48C1-99BD-BBA70C8082BC}"/>
              </pc2:cmMkLst>
            </pc226:cmChg>
          </p:ext>
        </pc:extLst>
      </pc:sldChg>
      <pc:sldChg chg="add del">
        <pc:chgData name="Eileen Fleming Suse" userId="S::efs3844@ads.northwestern.edu::725c94ef-d051-42d7-9d33-8572765d592b" providerId="AD" clId="Web-{AC5E249F-4AD8-EC7C-FB2F-902F01AC2000}" dt="2023-10-27T16:04:51.687" v="308"/>
        <pc:sldMkLst>
          <pc:docMk/>
          <pc:sldMk cId="2439308623" sldId="599"/>
        </pc:sldMkLst>
      </pc:sldChg>
    </pc:docChg>
  </pc:docChgLst>
  <pc:docChgLst>
    <pc:chgData name="Eileen Fleming Suse" userId="S::efs3844@ads.northwestern.edu::725c94ef-d051-42d7-9d33-8572765d592b" providerId="AD" clId="Web-{22D2D811-4E65-4C88-896C-E87684E0524E}"/>
    <pc:docChg chg="addSld delSld modSld sldOrd addMainMaster modMainMaster">
      <pc:chgData name="Eileen Fleming Suse" userId="S::efs3844@ads.northwestern.edu::725c94ef-d051-42d7-9d33-8572765d592b" providerId="AD" clId="Web-{22D2D811-4E65-4C88-896C-E87684E0524E}" dt="2023-10-27T19:12:45.418" v="258" actId="1076"/>
      <pc:docMkLst>
        <pc:docMk/>
      </pc:docMkLst>
      <pc:sldChg chg="modSp">
        <pc:chgData name="Eileen Fleming Suse" userId="S::efs3844@ads.northwestern.edu::725c94ef-d051-42d7-9d33-8572765d592b" providerId="AD" clId="Web-{22D2D811-4E65-4C88-896C-E87684E0524E}" dt="2023-10-27T18:33:04.306" v="44" actId="20577"/>
        <pc:sldMkLst>
          <pc:docMk/>
          <pc:sldMk cId="3472964082" sldId="550"/>
        </pc:sldMkLst>
        <pc:spChg chg="mod">
          <ac:chgData name="Eileen Fleming Suse" userId="S::efs3844@ads.northwestern.edu::725c94ef-d051-42d7-9d33-8572765d592b" providerId="AD" clId="Web-{22D2D811-4E65-4C88-896C-E87684E0524E}" dt="2023-10-27T18:33:04.306" v="44" actId="20577"/>
          <ac:spMkLst>
            <pc:docMk/>
            <pc:sldMk cId="3472964082" sldId="550"/>
            <ac:spMk id="23" creationId="{00000000-0000-0000-0000-000000000000}"/>
          </ac:spMkLst>
        </pc:spChg>
      </pc:sldChg>
      <pc:sldChg chg="modNotes">
        <pc:chgData name="Eileen Fleming Suse" userId="S::efs3844@ads.northwestern.edu::725c94ef-d051-42d7-9d33-8572765d592b" providerId="AD" clId="Web-{22D2D811-4E65-4C88-896C-E87684E0524E}" dt="2023-10-27T18:11:52.843" v="38"/>
        <pc:sldMkLst>
          <pc:docMk/>
          <pc:sldMk cId="2562283095" sldId="551"/>
        </pc:sldMkLst>
      </pc:sldChg>
      <pc:sldChg chg="modSp modNotes">
        <pc:chgData name="Eileen Fleming Suse" userId="S::efs3844@ads.northwestern.edu::725c94ef-d051-42d7-9d33-8572765d592b" providerId="AD" clId="Web-{22D2D811-4E65-4C88-896C-E87684E0524E}" dt="2023-10-27T18:51:13.798" v="179" actId="20577"/>
        <pc:sldMkLst>
          <pc:docMk/>
          <pc:sldMk cId="3067427377" sldId="560"/>
        </pc:sldMkLst>
        <pc:spChg chg="mod">
          <ac:chgData name="Eileen Fleming Suse" userId="S::efs3844@ads.northwestern.edu::725c94ef-d051-42d7-9d33-8572765d592b" providerId="AD" clId="Web-{22D2D811-4E65-4C88-896C-E87684E0524E}" dt="2023-10-27T18:51:13.798" v="179" actId="20577"/>
          <ac:spMkLst>
            <pc:docMk/>
            <pc:sldMk cId="3067427377" sldId="560"/>
            <ac:spMk id="3" creationId="{E7ECD19B-85BC-6652-2856-676802964CFA}"/>
          </ac:spMkLst>
        </pc:spChg>
      </pc:sldChg>
      <pc:sldChg chg="modSp modNotes">
        <pc:chgData name="Eileen Fleming Suse" userId="S::efs3844@ads.northwestern.edu::725c94ef-d051-42d7-9d33-8572765d592b" providerId="AD" clId="Web-{22D2D811-4E65-4C88-896C-E87684E0524E}" dt="2023-10-27T19:12:45.418" v="258" actId="1076"/>
        <pc:sldMkLst>
          <pc:docMk/>
          <pc:sldMk cId="1141815353" sldId="562"/>
        </pc:sldMkLst>
        <pc:spChg chg="mod">
          <ac:chgData name="Eileen Fleming Suse" userId="S::efs3844@ads.northwestern.edu::725c94ef-d051-42d7-9d33-8572765d592b" providerId="AD" clId="Web-{22D2D811-4E65-4C88-896C-E87684E0524E}" dt="2023-10-27T19:12:45.418" v="258" actId="1076"/>
          <ac:spMkLst>
            <pc:docMk/>
            <pc:sldMk cId="1141815353" sldId="562"/>
            <ac:spMk id="2" creationId="{05579FEB-3306-A04E-6516-F16994F3B0F9}"/>
          </ac:spMkLst>
        </pc:spChg>
        <pc:spChg chg="mod">
          <ac:chgData name="Eileen Fleming Suse" userId="S::efs3844@ads.northwestern.edu::725c94ef-d051-42d7-9d33-8572765d592b" providerId="AD" clId="Web-{22D2D811-4E65-4C88-896C-E87684E0524E}" dt="2023-10-27T19:12:36.012" v="257" actId="1076"/>
          <ac:spMkLst>
            <pc:docMk/>
            <pc:sldMk cId="1141815353" sldId="562"/>
            <ac:spMk id="360" creationId="{FE59A3A2-BFF2-9772-51D6-9CCB620AEB53}"/>
          </ac:spMkLst>
        </pc:spChg>
        <pc:graphicFrameChg chg="mod modGraphic">
          <ac:chgData name="Eileen Fleming Suse" userId="S::efs3844@ads.northwestern.edu::725c94ef-d051-42d7-9d33-8572765d592b" providerId="AD" clId="Web-{22D2D811-4E65-4C88-896C-E87684E0524E}" dt="2023-10-27T19:12:25.184" v="255" actId="20577"/>
          <ac:graphicFrameMkLst>
            <pc:docMk/>
            <pc:sldMk cId="1141815353" sldId="562"/>
            <ac:graphicFrameMk id="137" creationId="{61D68665-D38F-2DB1-AAFC-535C715B7F9F}"/>
          </ac:graphicFrameMkLst>
        </pc:graphicFrameChg>
      </pc:sldChg>
      <pc:sldChg chg="ord modNotes">
        <pc:chgData name="Eileen Fleming Suse" userId="S::efs3844@ads.northwestern.edu::725c94ef-d051-42d7-9d33-8572765d592b" providerId="AD" clId="Web-{22D2D811-4E65-4C88-896C-E87684E0524E}" dt="2023-10-27T19:01:49.670" v="207"/>
        <pc:sldMkLst>
          <pc:docMk/>
          <pc:sldMk cId="1536434647" sldId="564"/>
        </pc:sldMkLst>
      </pc:sldChg>
      <pc:sldChg chg="modCm">
        <pc:chgData name="Eileen Fleming Suse" userId="S::efs3844@ads.northwestern.edu::725c94ef-d051-42d7-9d33-8572765d592b" providerId="AD" clId="Web-{22D2D811-4E65-4C88-896C-E87684E0524E}" dt="2023-10-27T18:24:45.031" v="40"/>
        <pc:sldMkLst>
          <pc:docMk/>
          <pc:sldMk cId="2564870475" sldId="566"/>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8:24:45.031" v="40"/>
              <pc2:cmMkLst xmlns:pc2="http://schemas.microsoft.com/office/powerpoint/2019/9/main/command">
                <pc:docMk/>
                <pc:sldMk cId="2564870475" sldId="566"/>
                <pc2:cmMk id="{2E54611F-EF9E-406A-A7DB-E8AA469FE59F}"/>
              </pc2:cmMkLst>
            </pc226:cmChg>
          </p:ext>
        </pc:extLst>
      </pc:sldChg>
      <pc:sldChg chg="modSp">
        <pc:chgData name="Eileen Fleming Suse" userId="S::efs3844@ads.northwestern.edu::725c94ef-d051-42d7-9d33-8572765d592b" providerId="AD" clId="Web-{22D2D811-4E65-4C88-896C-E87684E0524E}" dt="2023-10-27T18:30:50.210" v="42" actId="14100"/>
        <pc:sldMkLst>
          <pc:docMk/>
          <pc:sldMk cId="3419957415" sldId="577"/>
        </pc:sldMkLst>
        <pc:cxnChg chg="mod">
          <ac:chgData name="Eileen Fleming Suse" userId="S::efs3844@ads.northwestern.edu::725c94ef-d051-42d7-9d33-8572765d592b" providerId="AD" clId="Web-{22D2D811-4E65-4C88-896C-E87684E0524E}" dt="2023-10-27T18:30:50.210" v="42" actId="14100"/>
          <ac:cxnSpMkLst>
            <pc:docMk/>
            <pc:sldMk cId="3419957415" sldId="577"/>
            <ac:cxnSpMk id="60" creationId="{0780975F-40AC-4431-7277-8634D267BA1E}"/>
          </ac:cxnSpMkLst>
        </pc:cxnChg>
      </pc:sldChg>
      <pc:sldChg chg="modCm">
        <pc:chgData name="Eileen Fleming Suse" userId="S::efs3844@ads.northwestern.edu::725c94ef-d051-42d7-9d33-8572765d592b" providerId="AD" clId="Web-{22D2D811-4E65-4C88-896C-E87684E0524E}" dt="2023-10-27T17:42:13.365" v="0"/>
        <pc:sldMkLst>
          <pc:docMk/>
          <pc:sldMk cId="1478149357" sldId="598"/>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7:42:13.365" v="0"/>
              <pc2:cmMkLst xmlns:pc2="http://schemas.microsoft.com/office/powerpoint/2019/9/main/command">
                <pc:docMk/>
                <pc:sldMk cId="1478149357" sldId="598"/>
                <pc2:cmMk id="{137A254D-2737-4985-B0AB-6839DDC46AE0}"/>
              </pc2:cmMkLst>
            </pc226:cmChg>
          </p:ext>
        </pc:extLst>
      </pc:sldChg>
      <pc:sldChg chg="modCm">
        <pc:chgData name="Eileen Fleming Suse" userId="S::efs3844@ads.northwestern.edu::725c94ef-d051-42d7-9d33-8572765d592b" providerId="AD" clId="Web-{22D2D811-4E65-4C88-896C-E87684E0524E}" dt="2023-10-27T17:46:43.921" v="1"/>
        <pc:sldMkLst>
          <pc:docMk/>
          <pc:sldMk cId="3355787309" sldId="604"/>
        </pc:sldMkLst>
        <pc:extLst>
          <p:ext xmlns:p="http://schemas.openxmlformats.org/presentationml/2006/main" uri="{D6D511B9-2390-475A-947B-AFAB55BFBCF1}">
            <pc226:cmChg xmlns:pc226="http://schemas.microsoft.com/office/powerpoint/2022/06/main/command" chg="">
              <pc226:chgData name="Eileen Fleming Suse" userId="S::efs3844@ads.northwestern.edu::725c94ef-d051-42d7-9d33-8572765d592b" providerId="AD" clId="Web-{22D2D811-4E65-4C88-896C-E87684E0524E}" dt="2023-10-27T17:46:43.921" v="1"/>
              <pc2:cmMkLst xmlns:pc2="http://schemas.microsoft.com/office/powerpoint/2019/9/main/command">
                <pc:docMk/>
                <pc:sldMk cId="3355787309" sldId="604"/>
                <pc2:cmMk id="{5635E0A6-AC69-4FB6-B7FE-9DA078BBCAEE}"/>
              </pc2:cmMkLst>
              <pc226:cmRplyChg chg="add">
                <pc226:chgData name="Eileen Fleming Suse" userId="S::efs3844@ads.northwestern.edu::725c94ef-d051-42d7-9d33-8572765d592b" providerId="AD" clId="Web-{22D2D811-4E65-4C88-896C-E87684E0524E}" dt="2023-10-27T17:46:43.921" v="1"/>
                <pc2:cmRplyMkLst xmlns:pc2="http://schemas.microsoft.com/office/powerpoint/2019/9/main/command">
                  <pc:docMk/>
                  <pc:sldMk cId="3355787309" sldId="604"/>
                  <pc2:cmMk id="{5635E0A6-AC69-4FB6-B7FE-9DA078BBCAEE}"/>
                  <pc2:cmRplyMk id="{3053D263-C269-4BCE-98DF-ACFFCD7AE076}"/>
                </pc2:cmRplyMkLst>
              </pc226:cmRplyChg>
            </pc226:cmChg>
          </p:ext>
        </pc:extLst>
      </pc:sldChg>
      <pc:sldChg chg="modSp new del">
        <pc:chgData name="Eileen Fleming Suse" userId="S::efs3844@ads.northwestern.edu::725c94ef-d051-42d7-9d33-8572765d592b" providerId="AD" clId="Web-{22D2D811-4E65-4C88-896C-E87684E0524E}" dt="2023-10-27T18:54:20.755" v="180"/>
        <pc:sldMkLst>
          <pc:docMk/>
          <pc:sldMk cId="2702190378" sldId="615"/>
        </pc:sldMkLst>
        <pc:spChg chg="mod">
          <ac:chgData name="Eileen Fleming Suse" userId="S::efs3844@ads.northwestern.edu::725c94ef-d051-42d7-9d33-8572765d592b" providerId="AD" clId="Web-{22D2D811-4E65-4C88-896C-E87684E0524E}" dt="2023-10-27T17:49:36.442" v="12" actId="20577"/>
          <ac:spMkLst>
            <pc:docMk/>
            <pc:sldMk cId="2702190378" sldId="615"/>
            <ac:spMk id="2" creationId="{4F445AD1-E0AF-6269-62AE-B7B0FF43D0CD}"/>
          </ac:spMkLst>
        </pc:spChg>
        <pc:spChg chg="mod">
          <ac:chgData name="Eileen Fleming Suse" userId="S::efs3844@ads.northwestern.edu::725c94ef-d051-42d7-9d33-8572765d592b" providerId="AD" clId="Web-{22D2D811-4E65-4C88-896C-E87684E0524E}" dt="2023-10-27T17:49:58.974" v="18" actId="1076"/>
          <ac:spMkLst>
            <pc:docMk/>
            <pc:sldMk cId="2702190378" sldId="615"/>
            <ac:spMk id="3" creationId="{71F04961-CC8C-E39E-33CE-8C1BD7F5DC38}"/>
          </ac:spMkLst>
        </pc:spChg>
      </pc:sldChg>
      <pc:sldChg chg="add">
        <pc:chgData name="Eileen Fleming Suse" userId="S::efs3844@ads.northwestern.edu::725c94ef-d051-42d7-9d33-8572765d592b" providerId="AD" clId="Web-{22D2D811-4E65-4C88-896C-E87684E0524E}" dt="2023-10-27T18:23:08.497" v="39"/>
        <pc:sldMkLst>
          <pc:docMk/>
          <pc:sldMk cId="3726638559" sldId="616"/>
        </pc:sldMkLst>
      </pc:sldChg>
      <pc:sldChg chg="add replId">
        <pc:chgData name="Eileen Fleming Suse" userId="S::efs3844@ads.northwestern.edu::725c94ef-d051-42d7-9d33-8572765d592b" providerId="AD" clId="Web-{22D2D811-4E65-4C88-896C-E87684E0524E}" dt="2023-10-27T19:03:54.095" v="208"/>
        <pc:sldMkLst>
          <pc:docMk/>
          <pc:sldMk cId="1210022179" sldId="617"/>
        </pc:sldMkLst>
      </pc:sldChg>
      <pc:sldChg chg="add replId">
        <pc:chgData name="Eileen Fleming Suse" userId="S::efs3844@ads.northwestern.edu::725c94ef-d051-42d7-9d33-8572765d592b" providerId="AD" clId="Web-{22D2D811-4E65-4C88-896C-E87684E0524E}" dt="2023-10-27T19:04:00.548" v="209"/>
        <pc:sldMkLst>
          <pc:docMk/>
          <pc:sldMk cId="3431700372" sldId="618"/>
        </pc:sldMkLst>
      </pc:sldChg>
      <pc:sldChg chg="add replId">
        <pc:chgData name="Eileen Fleming Suse" userId="S::efs3844@ads.northwestern.edu::725c94ef-d051-42d7-9d33-8572765d592b" providerId="AD" clId="Web-{22D2D811-4E65-4C88-896C-E87684E0524E}" dt="2023-10-27T19:04:16.017" v="210"/>
        <pc:sldMkLst>
          <pc:docMk/>
          <pc:sldMk cId="923498403" sldId="619"/>
        </pc:sldMkLst>
      </pc:sldChg>
      <pc:sldChg chg="add replId">
        <pc:chgData name="Eileen Fleming Suse" userId="S::efs3844@ads.northwestern.edu::725c94ef-d051-42d7-9d33-8572765d592b" providerId="AD" clId="Web-{22D2D811-4E65-4C88-896C-E87684E0524E}" dt="2023-10-27T19:04:20.345" v="211"/>
        <pc:sldMkLst>
          <pc:docMk/>
          <pc:sldMk cId="3074345071" sldId="620"/>
        </pc:sldMkLst>
      </pc:sldChg>
      <pc:sldChg chg="new del">
        <pc:chgData name="Eileen Fleming Suse" userId="S::efs3844@ads.northwestern.edu::725c94ef-d051-42d7-9d33-8572765d592b" providerId="AD" clId="Web-{22D2D811-4E65-4C88-896C-E87684E0524E}" dt="2023-10-27T19:06:30.676" v="219"/>
        <pc:sldMkLst>
          <pc:docMk/>
          <pc:sldMk cId="2826471173" sldId="621"/>
        </pc:sldMkLst>
      </pc:sldChg>
      <pc:sldChg chg="add replId modNotes">
        <pc:chgData name="Eileen Fleming Suse" userId="S::efs3844@ads.northwestern.edu::725c94ef-d051-42d7-9d33-8572765d592b" providerId="AD" clId="Web-{22D2D811-4E65-4C88-896C-E87684E0524E}" dt="2023-10-27T19:05:58.863" v="218"/>
        <pc:sldMkLst>
          <pc:docMk/>
          <pc:sldMk cId="3850125703" sldId="622"/>
        </pc:sldMkLst>
      </pc:sldChg>
      <pc:sldMasterChg chg="modSldLayout">
        <pc:chgData name="Eileen Fleming Suse" userId="S::efs3844@ads.northwestern.edu::725c94ef-d051-42d7-9d33-8572765d592b" providerId="AD" clId="Web-{22D2D811-4E65-4C88-896C-E87684E0524E}" dt="2023-10-27T18:23:08.497" v="39"/>
        <pc:sldMasterMkLst>
          <pc:docMk/>
          <pc:sldMasterMk cId="3378073280" sldId="2147483756"/>
        </pc:sldMasterMkLst>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2670630771" sldId="214748735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783658486" sldId="214748735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9320368" sldId="214748735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10130633" sldId="214748735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698059872" sldId="214748735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5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5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5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5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5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6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6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6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39295337" sldId="214748736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02549073" sldId="214748736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5532739" sldId="214748736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58542806" sldId="214748736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967421487" sldId="214748736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6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80529727" sldId="214748736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7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7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7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7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59781530" sldId="214748737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7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7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7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7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79"/>
          </pc:sldLayoutMkLst>
        </pc:sldLayoutChg>
      </pc:sldMasterChg>
      <pc:sldMasterChg chg="add addSldLayout">
        <pc:chgData name="Eileen Fleming Suse" userId="S::efs3844@ads.northwestern.edu::725c94ef-d051-42d7-9d33-8572765d592b" providerId="AD" clId="Web-{22D2D811-4E65-4C88-896C-E87684E0524E}" dt="2023-10-27T18:23:08.497" v="39"/>
        <pc:sldMasterMkLst>
          <pc:docMk/>
          <pc:sldMasterMk cId="0" sldId="2147484595"/>
        </pc:sldMasterMkLst>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1"/>
          </pc:sldLayoutMkLst>
        </pc:sldLayoutChg>
      </pc:sldMasterChg>
    </pc:docChg>
  </pc:docChgLst>
  <pc:docChgLst>
    <pc:chgData name="Isabel Rose Gippo" userId="S::irg9370@ads.northwestern.edu::b10bfe7e-55b9-46dd-9add-2eb52cb66d3b" providerId="AD" clId="Web-{6F4BA6F9-4A5A-3B13-85C3-6DB0B61CBC00}"/>
    <pc:docChg chg="addSld delSld modSld sldOrd">
      <pc:chgData name="Isabel Rose Gippo" userId="S::irg9370@ads.northwestern.edu::b10bfe7e-55b9-46dd-9add-2eb52cb66d3b" providerId="AD" clId="Web-{6F4BA6F9-4A5A-3B13-85C3-6DB0B61CBC00}" dt="2023-10-24T15:58:08.213" v="1715" actId="1076"/>
      <pc:docMkLst>
        <pc:docMk/>
      </pc:docMkLst>
      <pc:sldChg chg="addSp delSp modSp add del">
        <pc:chgData name="Isabel Rose Gippo" userId="S::irg9370@ads.northwestern.edu::b10bfe7e-55b9-46dd-9add-2eb52cb66d3b" providerId="AD" clId="Web-{6F4BA6F9-4A5A-3B13-85C3-6DB0B61CBC00}" dt="2023-10-24T15:58:08.213" v="1715" actId="1076"/>
        <pc:sldMkLst>
          <pc:docMk/>
          <pc:sldMk cId="3090389772" sldId="568"/>
        </pc:sldMkLst>
        <pc:spChg chg="mod">
          <ac:chgData name="Isabel Rose Gippo" userId="S::irg9370@ads.northwestern.edu::b10bfe7e-55b9-46dd-9add-2eb52cb66d3b" providerId="AD" clId="Web-{6F4BA6F9-4A5A-3B13-85C3-6DB0B61CBC00}" dt="2023-10-24T15:58:08.213" v="1715" actId="1076"/>
          <ac:spMkLst>
            <pc:docMk/>
            <pc:sldMk cId="3090389772" sldId="568"/>
            <ac:spMk id="11" creationId="{13896302-555C-1A80-C459-6D1ACE663F72}"/>
          </ac:spMkLst>
        </pc:spChg>
        <pc:spChg chg="mod">
          <ac:chgData name="Isabel Rose Gippo" userId="S::irg9370@ads.northwestern.edu::b10bfe7e-55b9-46dd-9add-2eb52cb66d3b" providerId="AD" clId="Web-{6F4BA6F9-4A5A-3B13-85C3-6DB0B61CBC00}" dt="2023-10-24T15:57:58.447" v="1714"/>
          <ac:spMkLst>
            <pc:docMk/>
            <pc:sldMk cId="3090389772" sldId="568"/>
            <ac:spMk id="15" creationId="{CA00A902-9377-5B4A-9651-129D059BB685}"/>
          </ac:spMkLst>
        </pc:spChg>
        <pc:spChg chg="mod">
          <ac:chgData name="Isabel Rose Gippo" userId="S::irg9370@ads.northwestern.edu::b10bfe7e-55b9-46dd-9add-2eb52cb66d3b" providerId="AD" clId="Web-{6F4BA6F9-4A5A-3B13-85C3-6DB0B61CBC00}" dt="2023-10-24T15:56:10.319" v="1694" actId="1076"/>
          <ac:spMkLst>
            <pc:docMk/>
            <pc:sldMk cId="3090389772" sldId="568"/>
            <ac:spMk id="19" creationId="{F49C1F1A-614A-5749-1A3F-78980B65ADBC}"/>
          </ac:spMkLst>
        </pc:spChg>
        <pc:graphicFrameChg chg="add del mod modGraphic">
          <ac:chgData name="Isabel Rose Gippo" userId="S::irg9370@ads.northwestern.edu::b10bfe7e-55b9-46dd-9add-2eb52cb66d3b" providerId="AD" clId="Web-{6F4BA6F9-4A5A-3B13-85C3-6DB0B61CBC00}" dt="2023-10-24T14:31:59.177" v="62"/>
          <ac:graphicFrameMkLst>
            <pc:docMk/>
            <pc:sldMk cId="3090389772" sldId="568"/>
            <ac:graphicFrameMk id="4" creationId="{6A2907FB-67FD-24B1-D91A-81A1E0F2FE3E}"/>
          </ac:graphicFrameMkLst>
        </pc:graphicFrameChg>
        <pc:picChg chg="add del mod">
          <ac:chgData name="Isabel Rose Gippo" userId="S::irg9370@ads.northwestern.edu::b10bfe7e-55b9-46dd-9add-2eb52cb66d3b" providerId="AD" clId="Web-{6F4BA6F9-4A5A-3B13-85C3-6DB0B61CBC00}" dt="2023-10-24T14:35:05.776" v="115"/>
          <ac:picMkLst>
            <pc:docMk/>
            <pc:sldMk cId="3090389772" sldId="568"/>
            <ac:picMk id="2" creationId="{22E3189E-1004-3B9A-952C-B9908ABEC812}"/>
          </ac:picMkLst>
        </pc:picChg>
        <pc:picChg chg="add mod">
          <ac:chgData name="Isabel Rose Gippo" userId="S::irg9370@ads.northwestern.edu::b10bfe7e-55b9-46dd-9add-2eb52cb66d3b" providerId="AD" clId="Web-{6F4BA6F9-4A5A-3B13-85C3-6DB0B61CBC00}" dt="2023-10-24T14:35:18.041" v="119" actId="14100"/>
          <ac:picMkLst>
            <pc:docMk/>
            <pc:sldMk cId="3090389772" sldId="568"/>
            <ac:picMk id="5" creationId="{65C4865E-19D9-EE97-B5E3-CD1D974570D2}"/>
          </ac:picMkLst>
        </pc:picChg>
        <pc:picChg chg="mod">
          <ac:chgData name="Isabel Rose Gippo" userId="S::irg9370@ads.northwestern.edu::b10bfe7e-55b9-46dd-9add-2eb52cb66d3b" providerId="AD" clId="Web-{6F4BA6F9-4A5A-3B13-85C3-6DB0B61CBC00}" dt="2023-10-24T15:56:31.632" v="1698" actId="1076"/>
          <ac:picMkLst>
            <pc:docMk/>
            <pc:sldMk cId="3090389772" sldId="568"/>
            <ac:picMk id="14" creationId="{557B5DD0-CAF3-34F4-E916-20658CE8833E}"/>
          </ac:picMkLst>
        </pc:picChg>
        <pc:picChg chg="del mod">
          <ac:chgData name="Isabel Rose Gippo" userId="S::irg9370@ads.northwestern.edu::b10bfe7e-55b9-46dd-9add-2eb52cb66d3b" providerId="AD" clId="Web-{6F4BA6F9-4A5A-3B13-85C3-6DB0B61CBC00}" dt="2023-10-24T14:32:31.866" v="75"/>
          <ac:picMkLst>
            <pc:docMk/>
            <pc:sldMk cId="3090389772" sldId="568"/>
            <ac:picMk id="21" creationId="{B3F7D84D-D47C-2EE1-3151-7E4DB552539E}"/>
          </ac:picMkLst>
        </pc:picChg>
        <pc:cxnChg chg="add mod">
          <ac:chgData name="Isabel Rose Gippo" userId="S::irg9370@ads.northwestern.edu::b10bfe7e-55b9-46dd-9add-2eb52cb66d3b" providerId="AD" clId="Web-{6F4BA6F9-4A5A-3B13-85C3-6DB0B61CBC00}" dt="2023-10-24T15:57:36.212" v="1709" actId="1076"/>
          <ac:cxnSpMkLst>
            <pc:docMk/>
            <pc:sldMk cId="3090389772" sldId="568"/>
            <ac:cxnSpMk id="6" creationId="{800C1A4B-558C-C3C1-0A73-4639336A0837}"/>
          </ac:cxnSpMkLst>
        </pc:cxnChg>
      </pc:sldChg>
      <pc:sldChg chg="addSp delSp modSp add del">
        <pc:chgData name="Isabel Rose Gippo" userId="S::irg9370@ads.northwestern.edu::b10bfe7e-55b9-46dd-9add-2eb52cb66d3b" providerId="AD" clId="Web-{6F4BA6F9-4A5A-3B13-85C3-6DB0B61CBC00}" dt="2023-10-24T14:58:27.576" v="440" actId="1076"/>
        <pc:sldMkLst>
          <pc:docMk/>
          <pc:sldMk cId="1088329954" sldId="569"/>
        </pc:sldMkLst>
        <pc:spChg chg="add mod">
          <ac:chgData name="Isabel Rose Gippo" userId="S::irg9370@ads.northwestern.edu::b10bfe7e-55b9-46dd-9add-2eb52cb66d3b" providerId="AD" clId="Web-{6F4BA6F9-4A5A-3B13-85C3-6DB0B61CBC00}" dt="2023-10-24T14:39:08.110" v="142"/>
          <ac:spMkLst>
            <pc:docMk/>
            <pc:sldMk cId="1088329954" sldId="569"/>
            <ac:spMk id="6" creationId="{001FEC55-3964-F5A7-7AE0-6E293AC7CBD9}"/>
          </ac:spMkLst>
        </pc:spChg>
        <pc:spChg chg="add mod">
          <ac:chgData name="Isabel Rose Gippo" userId="S::irg9370@ads.northwestern.edu::b10bfe7e-55b9-46dd-9add-2eb52cb66d3b" providerId="AD" clId="Web-{6F4BA6F9-4A5A-3B13-85C3-6DB0B61CBC00}" dt="2023-10-24T14:51:03.987" v="376" actId="1076"/>
          <ac:spMkLst>
            <pc:docMk/>
            <pc:sldMk cId="1088329954" sldId="569"/>
            <ac:spMk id="7" creationId="{EAD90045-A731-42F5-ED3E-D5AE61B97B24}"/>
          </ac:spMkLst>
        </pc:spChg>
        <pc:spChg chg="mod">
          <ac:chgData name="Isabel Rose Gippo" userId="S::irg9370@ads.northwestern.edu::b10bfe7e-55b9-46dd-9add-2eb52cb66d3b" providerId="AD" clId="Web-{6F4BA6F9-4A5A-3B13-85C3-6DB0B61CBC00}" dt="2023-10-24T14:39:06.766" v="139" actId="20577"/>
          <ac:spMkLst>
            <pc:docMk/>
            <pc:sldMk cId="1088329954" sldId="569"/>
            <ac:spMk id="19" creationId="{F49C1F1A-614A-5749-1A3F-78980B65ADBC}"/>
          </ac:spMkLst>
        </pc:spChg>
        <pc:spChg chg="mod">
          <ac:chgData name="Isabel Rose Gippo" userId="S::irg9370@ads.northwestern.edu::b10bfe7e-55b9-46dd-9add-2eb52cb66d3b" providerId="AD" clId="Web-{6F4BA6F9-4A5A-3B13-85C3-6DB0B61CBC00}" dt="2023-10-24T14:58:27.576" v="440" actId="1076"/>
          <ac:spMkLst>
            <pc:docMk/>
            <pc:sldMk cId="1088329954" sldId="569"/>
            <ac:spMk id="16386" creationId="{00000000-0000-0000-0000-000000000000}"/>
          </ac:spMkLst>
        </pc:spChg>
        <pc:graphicFrameChg chg="add del mod modGraphic">
          <ac:chgData name="Isabel Rose Gippo" userId="S::irg9370@ads.northwestern.edu::b10bfe7e-55b9-46dd-9add-2eb52cb66d3b" providerId="AD" clId="Web-{6F4BA6F9-4A5A-3B13-85C3-6DB0B61CBC00}" dt="2023-10-24T14:40:40.096" v="166"/>
          <ac:graphicFrameMkLst>
            <pc:docMk/>
            <pc:sldMk cId="1088329954" sldId="569"/>
            <ac:graphicFrameMk id="5" creationId="{44D1F5E2-36F3-46C2-BDE5-F839C2396742}"/>
          </ac:graphicFrameMkLst>
        </pc:graphicFrameChg>
        <pc:picChg chg="del mod">
          <ac:chgData name="Isabel Rose Gippo" userId="S::irg9370@ads.northwestern.edu::b10bfe7e-55b9-46dd-9add-2eb52cb66d3b" providerId="AD" clId="Web-{6F4BA6F9-4A5A-3B13-85C3-6DB0B61CBC00}" dt="2023-10-24T14:38:43.484" v="137"/>
          <ac:picMkLst>
            <pc:docMk/>
            <pc:sldMk cId="1088329954" sldId="569"/>
            <ac:picMk id="2" creationId="{7088B35E-417D-2903-C144-75276D9E0FF3}"/>
          </ac:picMkLst>
        </pc:picChg>
        <pc:picChg chg="add mod modCrop">
          <ac:chgData name="Isabel Rose Gippo" userId="S::irg9370@ads.northwestern.edu::b10bfe7e-55b9-46dd-9add-2eb52cb66d3b" providerId="AD" clId="Web-{6F4BA6F9-4A5A-3B13-85C3-6DB0B61CBC00}" dt="2023-10-24T14:44:29.852" v="231" actId="1076"/>
          <ac:picMkLst>
            <pc:docMk/>
            <pc:sldMk cId="1088329954" sldId="569"/>
            <ac:picMk id="3" creationId="{787AF34B-E42D-4B43-CB21-2B40E3955DDD}"/>
          </ac:picMkLst>
        </pc:picChg>
      </pc:sldChg>
      <pc:sldChg chg="addSp delSp modSp">
        <pc:chgData name="Isabel Rose Gippo" userId="S::irg9370@ads.northwestern.edu::b10bfe7e-55b9-46dd-9add-2eb52cb66d3b" providerId="AD" clId="Web-{6F4BA6F9-4A5A-3B13-85C3-6DB0B61CBC00}" dt="2023-10-24T15:55:56.382" v="1691" actId="1076"/>
        <pc:sldMkLst>
          <pc:docMk/>
          <pc:sldMk cId="2849312483" sldId="570"/>
        </pc:sldMkLst>
        <pc:spChg chg="mod">
          <ac:chgData name="Isabel Rose Gippo" userId="S::irg9370@ads.northwestern.edu::b10bfe7e-55b9-46dd-9add-2eb52cb66d3b" providerId="AD" clId="Web-{6F4BA6F9-4A5A-3B13-85C3-6DB0B61CBC00}" dt="2023-10-24T15:55:56.382" v="1691" actId="1076"/>
          <ac:spMkLst>
            <pc:docMk/>
            <pc:sldMk cId="2849312483" sldId="570"/>
            <ac:spMk id="4" creationId="{EA09FBC4-EFF6-9AB4-25A1-D6ED252CED0D}"/>
          </ac:spMkLst>
        </pc:spChg>
        <pc:spChg chg="mod">
          <ac:chgData name="Isabel Rose Gippo" userId="S::irg9370@ads.northwestern.edu::b10bfe7e-55b9-46dd-9add-2eb52cb66d3b" providerId="AD" clId="Web-{6F4BA6F9-4A5A-3B13-85C3-6DB0B61CBC00}" dt="2023-10-24T14:46:10.308" v="247" actId="1076"/>
          <ac:spMkLst>
            <pc:docMk/>
            <pc:sldMk cId="2849312483" sldId="570"/>
            <ac:spMk id="5" creationId="{E069BE35-38BF-B866-0B62-A243ACB6F110}"/>
          </ac:spMkLst>
        </pc:spChg>
        <pc:spChg chg="mod">
          <ac:chgData name="Isabel Rose Gippo" userId="S::irg9370@ads.northwestern.edu::b10bfe7e-55b9-46dd-9add-2eb52cb66d3b" providerId="AD" clId="Web-{6F4BA6F9-4A5A-3B13-85C3-6DB0B61CBC00}" dt="2023-10-24T14:45:53.292" v="243" actId="1076"/>
          <ac:spMkLst>
            <pc:docMk/>
            <pc:sldMk cId="2849312483" sldId="570"/>
            <ac:spMk id="6" creationId="{137890F0-FB58-2F7F-C68D-9B504512854C}"/>
          </ac:spMkLst>
        </pc:spChg>
        <pc:spChg chg="mod">
          <ac:chgData name="Isabel Rose Gippo" userId="S::irg9370@ads.northwestern.edu::b10bfe7e-55b9-46dd-9add-2eb52cb66d3b" providerId="AD" clId="Web-{6F4BA6F9-4A5A-3B13-85C3-6DB0B61CBC00}" dt="2023-10-24T14:46:01.714" v="245" actId="1076"/>
          <ac:spMkLst>
            <pc:docMk/>
            <pc:sldMk cId="2849312483" sldId="570"/>
            <ac:spMk id="7" creationId="{1F35585C-3549-CE9C-A34A-3452229F6833}"/>
          </ac:spMkLst>
        </pc:spChg>
        <pc:spChg chg="mod">
          <ac:chgData name="Isabel Rose Gippo" userId="S::irg9370@ads.northwestern.edu::b10bfe7e-55b9-46dd-9add-2eb52cb66d3b" providerId="AD" clId="Web-{6F4BA6F9-4A5A-3B13-85C3-6DB0B61CBC00}" dt="2023-10-24T14:46:07.167" v="246" actId="1076"/>
          <ac:spMkLst>
            <pc:docMk/>
            <pc:sldMk cId="2849312483" sldId="570"/>
            <ac:spMk id="9" creationId="{9BD0DB87-BFB9-248F-9187-16322CEC9C89}"/>
          </ac:spMkLst>
        </pc:spChg>
        <pc:spChg chg="mod">
          <ac:chgData name="Isabel Rose Gippo" userId="S::irg9370@ads.northwestern.edu::b10bfe7e-55b9-46dd-9add-2eb52cb66d3b" providerId="AD" clId="Web-{6F4BA6F9-4A5A-3B13-85C3-6DB0B61CBC00}" dt="2023-10-24T14:46:13.480" v="248" actId="1076"/>
          <ac:spMkLst>
            <pc:docMk/>
            <pc:sldMk cId="2849312483" sldId="570"/>
            <ac:spMk id="10" creationId="{C8307CA0-040F-CDB1-5F4D-16A04C6E74DF}"/>
          </ac:spMkLst>
        </pc:spChg>
        <pc:spChg chg="mod">
          <ac:chgData name="Isabel Rose Gippo" userId="S::irg9370@ads.northwestern.edu::b10bfe7e-55b9-46dd-9add-2eb52cb66d3b" providerId="AD" clId="Web-{6F4BA6F9-4A5A-3B13-85C3-6DB0B61CBC00}" dt="2023-10-24T14:58:32.123" v="441" actId="1076"/>
          <ac:spMkLst>
            <pc:docMk/>
            <pc:sldMk cId="2849312483" sldId="570"/>
            <ac:spMk id="16386" creationId="{00000000-0000-0000-0000-000000000000}"/>
          </ac:spMkLst>
        </pc:spChg>
        <pc:picChg chg="add mod modCrop">
          <ac:chgData name="Isabel Rose Gippo" userId="S::irg9370@ads.northwestern.edu::b10bfe7e-55b9-46dd-9add-2eb52cb66d3b" providerId="AD" clId="Web-{6F4BA6F9-4A5A-3B13-85C3-6DB0B61CBC00}" dt="2023-10-24T14:26:44.169" v="9" actId="1076"/>
          <ac:picMkLst>
            <pc:docMk/>
            <pc:sldMk cId="2849312483" sldId="570"/>
            <ac:picMk id="2" creationId="{D549A1D4-41B1-1D6F-42CB-8A4CB202EBC2}"/>
          </ac:picMkLst>
        </pc:picChg>
        <pc:picChg chg="add mod">
          <ac:chgData name="Isabel Rose Gippo" userId="S::irg9370@ads.northwestern.edu::b10bfe7e-55b9-46dd-9add-2eb52cb66d3b" providerId="AD" clId="Web-{6F4BA6F9-4A5A-3B13-85C3-6DB0B61CBC00}" dt="2023-10-24T14:45:56.854" v="244" actId="1076"/>
          <ac:picMkLst>
            <pc:docMk/>
            <pc:sldMk cId="2849312483" sldId="570"/>
            <ac:picMk id="3" creationId="{4DA2BC9A-416B-F3D1-6F75-394A69766AB0}"/>
          </ac:picMkLst>
        </pc:picChg>
        <pc:picChg chg="del mod">
          <ac:chgData name="Isabel Rose Gippo" userId="S::irg9370@ads.northwestern.edu::b10bfe7e-55b9-46dd-9add-2eb52cb66d3b" providerId="AD" clId="Web-{6F4BA6F9-4A5A-3B13-85C3-6DB0B61CBC00}" dt="2023-10-24T14:45:45.604" v="241"/>
          <ac:picMkLst>
            <pc:docMk/>
            <pc:sldMk cId="2849312483" sldId="570"/>
            <ac:picMk id="8" creationId="{59E0F2EE-E480-541D-E8E7-5C865B35C88F}"/>
          </ac:picMkLst>
        </pc:picChg>
        <pc:picChg chg="del">
          <ac:chgData name="Isabel Rose Gippo" userId="S::irg9370@ads.northwestern.edu::b10bfe7e-55b9-46dd-9add-2eb52cb66d3b" providerId="AD" clId="Web-{6F4BA6F9-4A5A-3B13-85C3-6DB0B61CBC00}" dt="2023-10-24T14:26:18.934" v="4"/>
          <ac:picMkLst>
            <pc:docMk/>
            <pc:sldMk cId="2849312483" sldId="570"/>
            <ac:picMk id="13" creationId="{03BF52CD-31EC-FC46-9A7F-3B257CCAC6A4}"/>
          </ac:picMkLst>
        </pc:picChg>
      </pc:sldChg>
      <pc:sldChg chg="addSp delSp modSp add ord replId">
        <pc:chgData name="Isabel Rose Gippo" userId="S::irg9370@ads.northwestern.edu::b10bfe7e-55b9-46dd-9add-2eb52cb66d3b" providerId="AD" clId="Web-{6F4BA6F9-4A5A-3B13-85C3-6DB0B61CBC00}" dt="2023-10-24T15:15:11.101" v="905" actId="1076"/>
        <pc:sldMkLst>
          <pc:docMk/>
          <pc:sldMk cId="1337825202" sldId="571"/>
        </pc:sldMkLst>
        <pc:spChg chg="add mod">
          <ac:chgData name="Isabel Rose Gippo" userId="S::irg9370@ads.northwestern.edu::b10bfe7e-55b9-46dd-9add-2eb52cb66d3b" providerId="AD" clId="Web-{6F4BA6F9-4A5A-3B13-85C3-6DB0B61CBC00}" dt="2023-10-24T14:58:09.169" v="438" actId="1076"/>
          <ac:spMkLst>
            <pc:docMk/>
            <pc:sldMk cId="1337825202" sldId="571"/>
            <ac:spMk id="4" creationId="{16B24218-AF37-F6C6-7684-E7E3C16AFAF4}"/>
          </ac:spMkLst>
        </pc:spChg>
        <pc:spChg chg="add mod">
          <ac:chgData name="Isabel Rose Gippo" userId="S::irg9370@ads.northwestern.edu::b10bfe7e-55b9-46dd-9add-2eb52cb66d3b" providerId="AD" clId="Web-{6F4BA6F9-4A5A-3B13-85C3-6DB0B61CBC00}" dt="2023-10-24T15:10:52.157" v="734" actId="1076"/>
          <ac:spMkLst>
            <pc:docMk/>
            <pc:sldMk cId="1337825202" sldId="571"/>
            <ac:spMk id="5" creationId="{45477BD9-E066-785E-8D58-760863918D07}"/>
          </ac:spMkLst>
        </pc:spChg>
        <pc:spChg chg="add mod ord">
          <ac:chgData name="Isabel Rose Gippo" userId="S::irg9370@ads.northwestern.edu::b10bfe7e-55b9-46dd-9add-2eb52cb66d3b" providerId="AD" clId="Web-{6F4BA6F9-4A5A-3B13-85C3-6DB0B61CBC00}" dt="2023-10-24T15:12:27.613" v="746" actId="14100"/>
          <ac:spMkLst>
            <pc:docMk/>
            <pc:sldMk cId="1337825202" sldId="571"/>
            <ac:spMk id="7" creationId="{70F70170-82A9-3F58-8A7E-1C8F0DE96C28}"/>
          </ac:spMkLst>
        </pc:spChg>
        <pc:spChg chg="add mod">
          <ac:chgData name="Isabel Rose Gippo" userId="S::irg9370@ads.northwestern.edu::b10bfe7e-55b9-46dd-9add-2eb52cb66d3b" providerId="AD" clId="Web-{6F4BA6F9-4A5A-3B13-85C3-6DB0B61CBC00}" dt="2023-10-24T15:11:07.955" v="736" actId="1076"/>
          <ac:spMkLst>
            <pc:docMk/>
            <pc:sldMk cId="1337825202" sldId="571"/>
            <ac:spMk id="9" creationId="{16E68D9A-C1B6-0901-3EFC-15C208817766}"/>
          </ac:spMkLst>
        </pc:spChg>
        <pc:spChg chg="add mod">
          <ac:chgData name="Isabel Rose Gippo" userId="S::irg9370@ads.northwestern.edu::b10bfe7e-55b9-46dd-9add-2eb52cb66d3b" providerId="AD" clId="Web-{6F4BA6F9-4A5A-3B13-85C3-6DB0B61CBC00}" dt="2023-10-24T15:11:14.377" v="737" actId="1076"/>
          <ac:spMkLst>
            <pc:docMk/>
            <pc:sldMk cId="1337825202" sldId="571"/>
            <ac:spMk id="10" creationId="{25AE8A2F-EC9C-3068-BE56-5960B5C6DCA1}"/>
          </ac:spMkLst>
        </pc:spChg>
        <pc:spChg chg="add mod">
          <ac:chgData name="Isabel Rose Gippo" userId="S::irg9370@ads.northwestern.edu::b10bfe7e-55b9-46dd-9add-2eb52cb66d3b" providerId="AD" clId="Web-{6F4BA6F9-4A5A-3B13-85C3-6DB0B61CBC00}" dt="2023-10-24T15:11:21.221" v="738" actId="1076"/>
          <ac:spMkLst>
            <pc:docMk/>
            <pc:sldMk cId="1337825202" sldId="571"/>
            <ac:spMk id="11" creationId="{F406DC6F-8C94-AF9D-26F8-B81A3F9E5004}"/>
          </ac:spMkLst>
        </pc:spChg>
        <pc:spChg chg="add mod">
          <ac:chgData name="Isabel Rose Gippo" userId="S::irg9370@ads.northwestern.edu::b10bfe7e-55b9-46dd-9add-2eb52cb66d3b" providerId="AD" clId="Web-{6F4BA6F9-4A5A-3B13-85C3-6DB0B61CBC00}" dt="2023-10-24T15:11:37.909" v="741" actId="1076"/>
          <ac:spMkLst>
            <pc:docMk/>
            <pc:sldMk cId="1337825202" sldId="571"/>
            <ac:spMk id="12" creationId="{913F4C80-BE39-2B7C-C4A4-98B839B10F3C}"/>
          </ac:spMkLst>
        </pc:spChg>
        <pc:spChg chg="add mod">
          <ac:chgData name="Isabel Rose Gippo" userId="S::irg9370@ads.northwestern.edu::b10bfe7e-55b9-46dd-9add-2eb52cb66d3b" providerId="AD" clId="Web-{6F4BA6F9-4A5A-3B13-85C3-6DB0B61CBC00}" dt="2023-10-24T15:11:32.768" v="740" actId="1076"/>
          <ac:spMkLst>
            <pc:docMk/>
            <pc:sldMk cId="1337825202" sldId="571"/>
            <ac:spMk id="13" creationId="{CA29CC08-AC6C-D03F-4212-3671B5C0255E}"/>
          </ac:spMkLst>
        </pc:spChg>
        <pc:spChg chg="add mod">
          <ac:chgData name="Isabel Rose Gippo" userId="S::irg9370@ads.northwestern.edu::b10bfe7e-55b9-46dd-9add-2eb52cb66d3b" providerId="AD" clId="Web-{6F4BA6F9-4A5A-3B13-85C3-6DB0B61CBC00}" dt="2023-10-24T15:11:44.581" v="742" actId="1076"/>
          <ac:spMkLst>
            <pc:docMk/>
            <pc:sldMk cId="1337825202" sldId="571"/>
            <ac:spMk id="14" creationId="{56D7802A-D9E3-5022-FEB1-A5E340BE8541}"/>
          </ac:spMkLst>
        </pc:spChg>
        <pc:spChg chg="add mod">
          <ac:chgData name="Isabel Rose Gippo" userId="S::irg9370@ads.northwestern.edu::b10bfe7e-55b9-46dd-9add-2eb52cb66d3b" providerId="AD" clId="Web-{6F4BA6F9-4A5A-3B13-85C3-6DB0B61CBC00}" dt="2023-10-24T15:11:52.956" v="743" actId="1076"/>
          <ac:spMkLst>
            <pc:docMk/>
            <pc:sldMk cId="1337825202" sldId="571"/>
            <ac:spMk id="15" creationId="{33C1CB15-DF62-AAD5-40DF-C348B0B14C79}"/>
          </ac:spMkLst>
        </pc:spChg>
        <pc:spChg chg="add">
          <ac:chgData name="Isabel Rose Gippo" userId="S::irg9370@ads.northwestern.edu::b10bfe7e-55b9-46dd-9add-2eb52cb66d3b" providerId="AD" clId="Web-{6F4BA6F9-4A5A-3B13-85C3-6DB0B61CBC00}" dt="2023-10-24T15:12:40.520" v="747"/>
          <ac:spMkLst>
            <pc:docMk/>
            <pc:sldMk cId="1337825202" sldId="571"/>
            <ac:spMk id="16" creationId="{F313A7DF-7EB6-E236-0B93-A3D3C3E562BC}"/>
          </ac:spMkLst>
        </pc:spChg>
        <pc:spChg chg="add mod">
          <ac:chgData name="Isabel Rose Gippo" userId="S::irg9370@ads.northwestern.edu::b10bfe7e-55b9-46dd-9add-2eb52cb66d3b" providerId="AD" clId="Web-{6F4BA6F9-4A5A-3B13-85C3-6DB0B61CBC00}" dt="2023-10-24T15:15:11.101" v="905" actId="1076"/>
          <ac:spMkLst>
            <pc:docMk/>
            <pc:sldMk cId="1337825202" sldId="571"/>
            <ac:spMk id="17" creationId="{F322531C-B747-9294-091C-9F40532B993A}"/>
          </ac:spMkLst>
        </pc:spChg>
        <pc:spChg chg="mod">
          <ac:chgData name="Isabel Rose Gippo" userId="S::irg9370@ads.northwestern.edu::b10bfe7e-55b9-46dd-9add-2eb52cb66d3b" providerId="AD" clId="Web-{6F4BA6F9-4A5A-3B13-85C3-6DB0B61CBC00}" dt="2023-10-24T14:57:39.325" v="425" actId="1076"/>
          <ac:spMkLst>
            <pc:docMk/>
            <pc:sldMk cId="1337825202" sldId="571"/>
            <ac:spMk id="19" creationId="{F49C1F1A-614A-5749-1A3F-78980B65ADBC}"/>
          </ac:spMkLst>
        </pc:spChg>
        <pc:spChg chg="mod">
          <ac:chgData name="Isabel Rose Gippo" userId="S::irg9370@ads.northwestern.edu::b10bfe7e-55b9-46dd-9add-2eb52cb66d3b" providerId="AD" clId="Web-{6F4BA6F9-4A5A-3B13-85C3-6DB0B61CBC00}" dt="2023-10-24T14:58:21.529" v="439" actId="1076"/>
          <ac:spMkLst>
            <pc:docMk/>
            <pc:sldMk cId="1337825202" sldId="571"/>
            <ac:spMk id="16386" creationId="{00000000-0000-0000-0000-000000000000}"/>
          </ac:spMkLst>
        </pc:spChg>
        <pc:picChg chg="del">
          <ac:chgData name="Isabel Rose Gippo" userId="S::irg9370@ads.northwestern.edu::b10bfe7e-55b9-46dd-9add-2eb52cb66d3b" providerId="AD" clId="Web-{6F4BA6F9-4A5A-3B13-85C3-6DB0B61CBC00}" dt="2023-10-24T14:28:03.140" v="46"/>
          <ac:picMkLst>
            <pc:docMk/>
            <pc:sldMk cId="1337825202" sldId="571"/>
            <ac:picMk id="2" creationId="{7088B35E-417D-2903-C144-75276D9E0FF3}"/>
          </ac:picMkLst>
        </pc:picChg>
        <pc:picChg chg="add mod">
          <ac:chgData name="Isabel Rose Gippo" userId="S::irg9370@ads.northwestern.edu::b10bfe7e-55b9-46dd-9add-2eb52cb66d3b" providerId="AD" clId="Web-{6F4BA6F9-4A5A-3B13-85C3-6DB0B61CBC00}" dt="2023-10-24T14:57:54.528" v="431" actId="14100"/>
          <ac:picMkLst>
            <pc:docMk/>
            <pc:sldMk cId="1337825202" sldId="571"/>
            <ac:picMk id="3" creationId="{295316AB-273C-55D8-0FED-C92B67DB5F3C}"/>
          </ac:picMkLst>
        </pc:picChg>
        <pc:picChg chg="add mod">
          <ac:chgData name="Isabel Rose Gippo" userId="S::irg9370@ads.northwestern.edu::b10bfe7e-55b9-46dd-9add-2eb52cb66d3b" providerId="AD" clId="Web-{6F4BA6F9-4A5A-3B13-85C3-6DB0B61CBC00}" dt="2023-10-24T15:11:02.736" v="735" actId="1076"/>
          <ac:picMkLst>
            <pc:docMk/>
            <pc:sldMk cId="1337825202" sldId="571"/>
            <ac:picMk id="6" creationId="{D2D0700A-FC9B-84DC-6A25-6288ECF7D29A}"/>
          </ac:picMkLst>
        </pc:picChg>
      </pc:sldChg>
      <pc:sldChg chg="modSp add del replId">
        <pc:chgData name="Isabel Rose Gippo" userId="S::irg9370@ads.northwestern.edu::b10bfe7e-55b9-46dd-9add-2eb52cb66d3b" providerId="AD" clId="Web-{6F4BA6F9-4A5A-3B13-85C3-6DB0B61CBC00}" dt="2023-10-24T15:15:28.883" v="910"/>
        <pc:sldMkLst>
          <pc:docMk/>
          <pc:sldMk cId="2676048260" sldId="574"/>
        </pc:sldMkLst>
        <pc:spChg chg="mod">
          <ac:chgData name="Isabel Rose Gippo" userId="S::irg9370@ads.northwestern.edu::b10bfe7e-55b9-46dd-9add-2eb52cb66d3b" providerId="AD" clId="Web-{6F4BA6F9-4A5A-3B13-85C3-6DB0B61CBC00}" dt="2023-10-24T15:09:52.078" v="731" actId="20577"/>
          <ac:spMkLst>
            <pc:docMk/>
            <pc:sldMk cId="2676048260" sldId="574"/>
            <ac:spMk id="5" creationId="{45477BD9-E066-785E-8D58-760863918D07}"/>
          </ac:spMkLst>
        </pc:spChg>
        <pc:spChg chg="mod">
          <ac:chgData name="Isabel Rose Gippo" userId="S::irg9370@ads.northwestern.edu::b10bfe7e-55b9-46dd-9add-2eb52cb66d3b" providerId="AD" clId="Web-{6F4BA6F9-4A5A-3B13-85C3-6DB0B61CBC00}" dt="2023-10-24T15:09:58.547" v="732"/>
          <ac:spMkLst>
            <pc:docMk/>
            <pc:sldMk cId="2676048260" sldId="574"/>
            <ac:spMk id="7" creationId="{70F70170-82A9-3F58-8A7E-1C8F0DE96C28}"/>
          </ac:spMkLst>
        </pc:spChg>
        <pc:spChg chg="mod">
          <ac:chgData name="Isabel Rose Gippo" userId="S::irg9370@ads.northwestern.edu::b10bfe7e-55b9-46dd-9add-2eb52cb66d3b" providerId="AD" clId="Web-{6F4BA6F9-4A5A-3B13-85C3-6DB0B61CBC00}" dt="2023-10-24T15:09:41.171" v="729" actId="20577"/>
          <ac:spMkLst>
            <pc:docMk/>
            <pc:sldMk cId="2676048260" sldId="574"/>
            <ac:spMk id="16386" creationId="{00000000-0000-0000-0000-000000000000}"/>
          </ac:spMkLst>
        </pc:spChg>
      </pc:sldChg>
      <pc:sldChg chg="addSp delSp modSp add del replId">
        <pc:chgData name="Isabel Rose Gippo" userId="S::irg9370@ads.northwestern.edu::b10bfe7e-55b9-46dd-9add-2eb52cb66d3b" providerId="AD" clId="Web-{6F4BA6F9-4A5A-3B13-85C3-6DB0B61CBC00}" dt="2023-10-24T15:55:34.943" v="1689" actId="1076"/>
        <pc:sldMkLst>
          <pc:docMk/>
          <pc:sldMk cId="1568500938" sldId="575"/>
        </pc:sldMkLst>
        <pc:spChg chg="mod">
          <ac:chgData name="Isabel Rose Gippo" userId="S::irg9370@ads.northwestern.edu::b10bfe7e-55b9-46dd-9add-2eb52cb66d3b" providerId="AD" clId="Web-{6F4BA6F9-4A5A-3B13-85C3-6DB0B61CBC00}" dt="2023-10-24T15:22:51.394" v="981" actId="1076"/>
          <ac:spMkLst>
            <pc:docMk/>
            <pc:sldMk cId="1568500938" sldId="575"/>
            <ac:spMk id="4" creationId="{16B24218-AF37-F6C6-7684-E7E3C16AFAF4}"/>
          </ac:spMkLst>
        </pc:spChg>
        <pc:spChg chg="mod">
          <ac:chgData name="Isabel Rose Gippo" userId="S::irg9370@ads.northwestern.edu::b10bfe7e-55b9-46dd-9add-2eb52cb66d3b" providerId="AD" clId="Web-{6F4BA6F9-4A5A-3B13-85C3-6DB0B61CBC00}" dt="2023-10-24T15:15:41.665" v="912" actId="20577"/>
          <ac:spMkLst>
            <pc:docMk/>
            <pc:sldMk cId="1568500938" sldId="575"/>
            <ac:spMk id="5" creationId="{45477BD9-E066-785E-8D58-760863918D07}"/>
          </ac:spMkLst>
        </pc:spChg>
        <pc:spChg chg="mod">
          <ac:chgData name="Isabel Rose Gippo" userId="S::irg9370@ads.northwestern.edu::b10bfe7e-55b9-46dd-9add-2eb52cb66d3b" providerId="AD" clId="Web-{6F4BA6F9-4A5A-3B13-85C3-6DB0B61CBC00}" dt="2023-10-24T15:15:36.930" v="911"/>
          <ac:spMkLst>
            <pc:docMk/>
            <pc:sldMk cId="1568500938" sldId="575"/>
            <ac:spMk id="7" creationId="{70F70170-82A9-3F58-8A7E-1C8F0DE96C28}"/>
          </ac:spMkLst>
        </pc:spChg>
        <pc:spChg chg="mod">
          <ac:chgData name="Isabel Rose Gippo" userId="S::irg9370@ads.northwestern.edu::b10bfe7e-55b9-46dd-9add-2eb52cb66d3b" providerId="AD" clId="Web-{6F4BA6F9-4A5A-3B13-85C3-6DB0B61CBC00}" dt="2023-10-24T15:30:40.812" v="1090" actId="1076"/>
          <ac:spMkLst>
            <pc:docMk/>
            <pc:sldMk cId="1568500938" sldId="575"/>
            <ac:spMk id="9" creationId="{16E68D9A-C1B6-0901-3EFC-15C208817766}"/>
          </ac:spMkLst>
        </pc:spChg>
        <pc:spChg chg="mod">
          <ac:chgData name="Isabel Rose Gippo" userId="S::irg9370@ads.northwestern.edu::b10bfe7e-55b9-46dd-9add-2eb52cb66d3b" providerId="AD" clId="Web-{6F4BA6F9-4A5A-3B13-85C3-6DB0B61CBC00}" dt="2023-10-24T15:30:48.922" v="1091" actId="1076"/>
          <ac:spMkLst>
            <pc:docMk/>
            <pc:sldMk cId="1568500938" sldId="575"/>
            <ac:spMk id="10" creationId="{25AE8A2F-EC9C-3068-BE56-5960B5C6DCA1}"/>
          </ac:spMkLst>
        </pc:spChg>
        <pc:spChg chg="mod">
          <ac:chgData name="Isabel Rose Gippo" userId="S::irg9370@ads.northwestern.edu::b10bfe7e-55b9-46dd-9add-2eb52cb66d3b" providerId="AD" clId="Web-{6F4BA6F9-4A5A-3B13-85C3-6DB0B61CBC00}" dt="2023-10-24T15:30:52.359" v="1092" actId="1076"/>
          <ac:spMkLst>
            <pc:docMk/>
            <pc:sldMk cId="1568500938" sldId="575"/>
            <ac:spMk id="11" creationId="{F406DC6F-8C94-AF9D-26F8-B81A3F9E5004}"/>
          </ac:spMkLst>
        </pc:spChg>
        <pc:spChg chg="mod">
          <ac:chgData name="Isabel Rose Gippo" userId="S::irg9370@ads.northwestern.edu::b10bfe7e-55b9-46dd-9add-2eb52cb66d3b" providerId="AD" clId="Web-{6F4BA6F9-4A5A-3B13-85C3-6DB0B61CBC00}" dt="2023-10-24T15:30:55.109" v="1093" actId="1076"/>
          <ac:spMkLst>
            <pc:docMk/>
            <pc:sldMk cId="1568500938" sldId="575"/>
            <ac:spMk id="12" creationId="{913F4C80-BE39-2B7C-C4A4-98B839B10F3C}"/>
          </ac:spMkLst>
        </pc:spChg>
        <pc:spChg chg="mod">
          <ac:chgData name="Isabel Rose Gippo" userId="S::irg9370@ads.northwestern.edu::b10bfe7e-55b9-46dd-9add-2eb52cb66d3b" providerId="AD" clId="Web-{6F4BA6F9-4A5A-3B13-85C3-6DB0B61CBC00}" dt="2023-10-24T15:30:59.516" v="1094" actId="1076"/>
          <ac:spMkLst>
            <pc:docMk/>
            <pc:sldMk cId="1568500938" sldId="575"/>
            <ac:spMk id="13" creationId="{CA29CC08-AC6C-D03F-4212-3671B5C0255E}"/>
          </ac:spMkLst>
        </pc:spChg>
        <pc:spChg chg="mod">
          <ac:chgData name="Isabel Rose Gippo" userId="S::irg9370@ads.northwestern.edu::b10bfe7e-55b9-46dd-9add-2eb52cb66d3b" providerId="AD" clId="Web-{6F4BA6F9-4A5A-3B13-85C3-6DB0B61CBC00}" dt="2023-10-24T15:31:03.172" v="1095" actId="1076"/>
          <ac:spMkLst>
            <pc:docMk/>
            <pc:sldMk cId="1568500938" sldId="575"/>
            <ac:spMk id="14" creationId="{56D7802A-D9E3-5022-FEB1-A5E340BE8541}"/>
          </ac:spMkLst>
        </pc:spChg>
        <pc:spChg chg="mod">
          <ac:chgData name="Isabel Rose Gippo" userId="S::irg9370@ads.northwestern.edu::b10bfe7e-55b9-46dd-9add-2eb52cb66d3b" providerId="AD" clId="Web-{6F4BA6F9-4A5A-3B13-85C3-6DB0B61CBC00}" dt="2023-10-24T15:31:07.750" v="1096" actId="1076"/>
          <ac:spMkLst>
            <pc:docMk/>
            <pc:sldMk cId="1568500938" sldId="575"/>
            <ac:spMk id="15" creationId="{33C1CB15-DF62-AAD5-40DF-C348B0B14C79}"/>
          </ac:spMkLst>
        </pc:spChg>
        <pc:spChg chg="mod">
          <ac:chgData name="Isabel Rose Gippo" userId="S::irg9370@ads.northwestern.edu::b10bfe7e-55b9-46dd-9add-2eb52cb66d3b" providerId="AD" clId="Web-{6F4BA6F9-4A5A-3B13-85C3-6DB0B61CBC00}" dt="2023-10-24T15:34:03.114" v="1206" actId="20577"/>
          <ac:spMkLst>
            <pc:docMk/>
            <pc:sldMk cId="1568500938" sldId="575"/>
            <ac:spMk id="17" creationId="{F322531C-B747-9294-091C-9F40532B993A}"/>
          </ac:spMkLst>
        </pc:spChg>
        <pc:spChg chg="mod">
          <ac:chgData name="Isabel Rose Gippo" userId="S::irg9370@ads.northwestern.edu::b10bfe7e-55b9-46dd-9add-2eb52cb66d3b" providerId="AD" clId="Web-{6F4BA6F9-4A5A-3B13-85C3-6DB0B61CBC00}" dt="2023-10-24T15:22:48.097" v="980" actId="1076"/>
          <ac:spMkLst>
            <pc:docMk/>
            <pc:sldMk cId="1568500938" sldId="575"/>
            <ac:spMk id="19" creationId="{F49C1F1A-614A-5749-1A3F-78980B65ADBC}"/>
          </ac:spMkLst>
        </pc:spChg>
        <pc:spChg chg="add mod">
          <ac:chgData name="Isabel Rose Gippo" userId="S::irg9370@ads.northwestern.edu::b10bfe7e-55b9-46dd-9add-2eb52cb66d3b" providerId="AD" clId="Web-{6F4BA6F9-4A5A-3B13-85C3-6DB0B61CBC00}" dt="2023-10-24T15:31:11.344" v="1097" actId="1076"/>
          <ac:spMkLst>
            <pc:docMk/>
            <pc:sldMk cId="1568500938" sldId="575"/>
            <ac:spMk id="21" creationId="{16124592-48C8-CBB5-0C67-F7EC7BD3F818}"/>
          </ac:spMkLst>
        </pc:spChg>
        <pc:spChg chg="add del mod">
          <ac:chgData name="Isabel Rose Gippo" userId="S::irg9370@ads.northwestern.edu::b10bfe7e-55b9-46dd-9add-2eb52cb66d3b" providerId="AD" clId="Web-{6F4BA6F9-4A5A-3B13-85C3-6DB0B61CBC00}" dt="2023-10-24T15:31:53.142" v="1125"/>
          <ac:spMkLst>
            <pc:docMk/>
            <pc:sldMk cId="1568500938" sldId="575"/>
            <ac:spMk id="22" creationId="{79C0A09F-BAC0-9497-B649-4AFA9FF44101}"/>
          </ac:spMkLst>
        </pc:spChg>
        <pc:spChg chg="add mod">
          <ac:chgData name="Isabel Rose Gippo" userId="S::irg9370@ads.northwestern.edu::b10bfe7e-55b9-46dd-9add-2eb52cb66d3b" providerId="AD" clId="Web-{6F4BA6F9-4A5A-3B13-85C3-6DB0B61CBC00}" dt="2023-10-24T15:33:52.380" v="1203" actId="1076"/>
          <ac:spMkLst>
            <pc:docMk/>
            <pc:sldMk cId="1568500938" sldId="575"/>
            <ac:spMk id="23" creationId="{242E4660-E8A4-DB53-3AE0-E98317C0C8D3}"/>
          </ac:spMkLst>
        </pc:spChg>
        <pc:spChg chg="mod">
          <ac:chgData name="Isabel Rose Gippo" userId="S::irg9370@ads.northwestern.edu::b10bfe7e-55b9-46dd-9add-2eb52cb66d3b" providerId="AD" clId="Web-{6F4BA6F9-4A5A-3B13-85C3-6DB0B61CBC00}" dt="2023-10-24T15:15:26.242" v="909" actId="20577"/>
          <ac:spMkLst>
            <pc:docMk/>
            <pc:sldMk cId="1568500938" sldId="575"/>
            <ac:spMk id="16386" creationId="{00000000-0000-0000-0000-000000000000}"/>
          </ac:spMkLst>
        </pc:spChg>
        <pc:picChg chg="add del mod">
          <ac:chgData name="Isabel Rose Gippo" userId="S::irg9370@ads.northwestern.edu::b10bfe7e-55b9-46dd-9add-2eb52cb66d3b" providerId="AD" clId="Web-{6F4BA6F9-4A5A-3B13-85C3-6DB0B61CBC00}" dt="2023-10-24T15:18:28.763" v="935"/>
          <ac:picMkLst>
            <pc:docMk/>
            <pc:sldMk cId="1568500938" sldId="575"/>
            <ac:picMk id="2" creationId="{95BB1340-67B2-9A3C-8B7D-1DAD7401068E}"/>
          </ac:picMkLst>
        </pc:picChg>
        <pc:picChg chg="del">
          <ac:chgData name="Isabel Rose Gippo" userId="S::irg9370@ads.northwestern.edu::b10bfe7e-55b9-46dd-9add-2eb52cb66d3b" providerId="AD" clId="Web-{6F4BA6F9-4A5A-3B13-85C3-6DB0B61CBC00}" dt="2023-10-24T15:17:12.761" v="916"/>
          <ac:picMkLst>
            <pc:docMk/>
            <pc:sldMk cId="1568500938" sldId="575"/>
            <ac:picMk id="3" creationId="{295316AB-273C-55D8-0FED-C92B67DB5F3C}"/>
          </ac:picMkLst>
        </pc:picChg>
        <pc:picChg chg="del mod">
          <ac:chgData name="Isabel Rose Gippo" userId="S::irg9370@ads.northwestern.edu::b10bfe7e-55b9-46dd-9add-2eb52cb66d3b" providerId="AD" clId="Web-{6F4BA6F9-4A5A-3B13-85C3-6DB0B61CBC00}" dt="2023-10-24T15:26:38.150" v="986"/>
          <ac:picMkLst>
            <pc:docMk/>
            <pc:sldMk cId="1568500938" sldId="575"/>
            <ac:picMk id="6" creationId="{D2D0700A-FC9B-84DC-6A25-6288ECF7D29A}"/>
          </ac:picMkLst>
        </pc:picChg>
        <pc:picChg chg="add mod">
          <ac:chgData name="Isabel Rose Gippo" userId="S::irg9370@ads.northwestern.edu::b10bfe7e-55b9-46dd-9add-2eb52cb66d3b" providerId="AD" clId="Web-{6F4BA6F9-4A5A-3B13-85C3-6DB0B61CBC00}" dt="2023-10-24T15:55:34.943" v="1689" actId="1076"/>
          <ac:picMkLst>
            <pc:docMk/>
            <pc:sldMk cId="1568500938" sldId="575"/>
            <ac:picMk id="8" creationId="{C4A61916-BC63-F6E7-BBA0-F124F7732FEA}"/>
          </ac:picMkLst>
        </pc:picChg>
        <pc:picChg chg="add del mod">
          <ac:chgData name="Isabel Rose Gippo" userId="S::irg9370@ads.northwestern.edu::b10bfe7e-55b9-46dd-9add-2eb52cb66d3b" providerId="AD" clId="Web-{6F4BA6F9-4A5A-3B13-85C3-6DB0B61CBC00}" dt="2023-10-24T15:27:20.839" v="994"/>
          <ac:picMkLst>
            <pc:docMk/>
            <pc:sldMk cId="1568500938" sldId="575"/>
            <ac:picMk id="18" creationId="{BCD3C2AF-D968-0135-4B4D-CDF4831C9AC7}"/>
          </ac:picMkLst>
        </pc:picChg>
        <pc:picChg chg="add mod">
          <ac:chgData name="Isabel Rose Gippo" userId="S::irg9370@ads.northwestern.edu::b10bfe7e-55b9-46dd-9add-2eb52cb66d3b" providerId="AD" clId="Web-{6F4BA6F9-4A5A-3B13-85C3-6DB0B61CBC00}" dt="2023-10-24T15:30:35.140" v="1089" actId="1076"/>
          <ac:picMkLst>
            <pc:docMk/>
            <pc:sldMk cId="1568500938" sldId="575"/>
            <ac:picMk id="20" creationId="{B6BEFD36-21D1-F003-8218-38BCE13A76CD}"/>
          </ac:picMkLst>
        </pc:picChg>
      </pc:sldChg>
      <pc:sldChg chg="addSp delSp modSp add del replId">
        <pc:chgData name="Isabel Rose Gippo" userId="S::irg9370@ads.northwestern.edu::b10bfe7e-55b9-46dd-9add-2eb52cb66d3b" providerId="AD" clId="Web-{6F4BA6F9-4A5A-3B13-85C3-6DB0B61CBC00}" dt="2023-10-24T15:55:22.521" v="1688"/>
        <pc:sldMkLst>
          <pc:docMk/>
          <pc:sldMk cId="1407824229" sldId="576"/>
        </pc:sldMkLst>
        <pc:spChg chg="add mod ord">
          <ac:chgData name="Isabel Rose Gippo" userId="S::irg9370@ads.northwestern.edu::b10bfe7e-55b9-46dd-9add-2eb52cb66d3b" providerId="AD" clId="Web-{6F4BA6F9-4A5A-3B13-85C3-6DB0B61CBC00}" dt="2023-10-24T15:55:16.099" v="1687"/>
          <ac:spMkLst>
            <pc:docMk/>
            <pc:sldMk cId="1407824229" sldId="576"/>
            <ac:spMk id="3" creationId="{E820A2E4-4F18-6799-9BD9-B308061CC76C}"/>
          </ac:spMkLst>
        </pc:spChg>
        <pc:spChg chg="del">
          <ac:chgData name="Isabel Rose Gippo" userId="S::irg9370@ads.northwestern.edu::b10bfe7e-55b9-46dd-9add-2eb52cb66d3b" providerId="AD" clId="Web-{6F4BA6F9-4A5A-3B13-85C3-6DB0B61CBC00}" dt="2023-10-24T15:38:43.746" v="1261"/>
          <ac:spMkLst>
            <pc:docMk/>
            <pc:sldMk cId="1407824229" sldId="576"/>
            <ac:spMk id="4" creationId="{16B24218-AF37-F6C6-7684-E7E3C16AFAF4}"/>
          </ac:spMkLst>
        </pc:spChg>
        <pc:spChg chg="mod">
          <ac:chgData name="Isabel Rose Gippo" userId="S::irg9370@ads.northwestern.edu::b10bfe7e-55b9-46dd-9add-2eb52cb66d3b" providerId="AD" clId="Web-{6F4BA6F9-4A5A-3B13-85C3-6DB0B61CBC00}" dt="2023-10-24T15:55:00.771" v="1686" actId="1076"/>
          <ac:spMkLst>
            <pc:docMk/>
            <pc:sldMk cId="1407824229" sldId="576"/>
            <ac:spMk id="5" creationId="{45477BD9-E066-785E-8D58-760863918D07}"/>
          </ac:spMkLst>
        </pc:spChg>
        <pc:spChg chg="add mod">
          <ac:chgData name="Isabel Rose Gippo" userId="S::irg9370@ads.northwestern.edu::b10bfe7e-55b9-46dd-9add-2eb52cb66d3b" providerId="AD" clId="Web-{6F4BA6F9-4A5A-3B13-85C3-6DB0B61CBC00}" dt="2023-10-24T15:55:22.521" v="1688"/>
          <ac:spMkLst>
            <pc:docMk/>
            <pc:sldMk cId="1407824229" sldId="576"/>
            <ac:spMk id="6" creationId="{ADFC1F5A-A2FF-8C65-F763-941E2E4DFF8C}"/>
          </ac:spMkLst>
        </pc:spChg>
        <pc:spChg chg="mod">
          <ac:chgData name="Isabel Rose Gippo" userId="S::irg9370@ads.northwestern.edu::b10bfe7e-55b9-46dd-9add-2eb52cb66d3b" providerId="AD" clId="Web-{6F4BA6F9-4A5A-3B13-85C3-6DB0B61CBC00}" dt="2023-10-24T15:46:13.601" v="1454"/>
          <ac:spMkLst>
            <pc:docMk/>
            <pc:sldMk cId="1407824229" sldId="576"/>
            <ac:spMk id="7" creationId="{70F70170-82A9-3F58-8A7E-1C8F0DE96C28}"/>
          </ac:spMkLst>
        </pc:spChg>
        <pc:spChg chg="del">
          <ac:chgData name="Isabel Rose Gippo" userId="S::irg9370@ads.northwestern.edu::b10bfe7e-55b9-46dd-9add-2eb52cb66d3b" providerId="AD" clId="Web-{6F4BA6F9-4A5A-3B13-85C3-6DB0B61CBC00}" dt="2023-10-24T15:48:10.464" v="1469"/>
          <ac:spMkLst>
            <pc:docMk/>
            <pc:sldMk cId="1407824229" sldId="576"/>
            <ac:spMk id="9" creationId="{16E68D9A-C1B6-0901-3EFC-15C208817766}"/>
          </ac:spMkLst>
        </pc:spChg>
        <pc:spChg chg="del">
          <ac:chgData name="Isabel Rose Gippo" userId="S::irg9370@ads.northwestern.edu::b10bfe7e-55b9-46dd-9add-2eb52cb66d3b" providerId="AD" clId="Web-{6F4BA6F9-4A5A-3B13-85C3-6DB0B61CBC00}" dt="2023-10-24T15:48:08.573" v="1468"/>
          <ac:spMkLst>
            <pc:docMk/>
            <pc:sldMk cId="1407824229" sldId="576"/>
            <ac:spMk id="10" creationId="{25AE8A2F-EC9C-3068-BE56-5960B5C6DCA1}"/>
          </ac:spMkLst>
        </pc:spChg>
        <pc:spChg chg="del">
          <ac:chgData name="Isabel Rose Gippo" userId="S::irg9370@ads.northwestern.edu::b10bfe7e-55b9-46dd-9add-2eb52cb66d3b" providerId="AD" clId="Web-{6F4BA6F9-4A5A-3B13-85C3-6DB0B61CBC00}" dt="2023-10-24T15:48:06.448" v="1467"/>
          <ac:spMkLst>
            <pc:docMk/>
            <pc:sldMk cId="1407824229" sldId="576"/>
            <ac:spMk id="11" creationId="{F406DC6F-8C94-AF9D-26F8-B81A3F9E5004}"/>
          </ac:spMkLst>
        </pc:spChg>
        <pc:spChg chg="del">
          <ac:chgData name="Isabel Rose Gippo" userId="S::irg9370@ads.northwestern.edu::b10bfe7e-55b9-46dd-9add-2eb52cb66d3b" providerId="AD" clId="Web-{6F4BA6F9-4A5A-3B13-85C3-6DB0B61CBC00}" dt="2023-10-24T15:48:04.542" v="1466"/>
          <ac:spMkLst>
            <pc:docMk/>
            <pc:sldMk cId="1407824229" sldId="576"/>
            <ac:spMk id="12" creationId="{913F4C80-BE39-2B7C-C4A4-98B839B10F3C}"/>
          </ac:spMkLst>
        </pc:spChg>
        <pc:spChg chg="del">
          <ac:chgData name="Isabel Rose Gippo" userId="S::irg9370@ads.northwestern.edu::b10bfe7e-55b9-46dd-9add-2eb52cb66d3b" providerId="AD" clId="Web-{6F4BA6F9-4A5A-3B13-85C3-6DB0B61CBC00}" dt="2023-10-24T15:48:02.495" v="1465"/>
          <ac:spMkLst>
            <pc:docMk/>
            <pc:sldMk cId="1407824229" sldId="576"/>
            <ac:spMk id="13" creationId="{CA29CC08-AC6C-D03F-4212-3671B5C0255E}"/>
          </ac:spMkLst>
        </pc:spChg>
        <pc:spChg chg="del">
          <ac:chgData name="Isabel Rose Gippo" userId="S::irg9370@ads.northwestern.edu::b10bfe7e-55b9-46dd-9add-2eb52cb66d3b" providerId="AD" clId="Web-{6F4BA6F9-4A5A-3B13-85C3-6DB0B61CBC00}" dt="2023-10-24T15:48:00.666" v="1464"/>
          <ac:spMkLst>
            <pc:docMk/>
            <pc:sldMk cId="1407824229" sldId="576"/>
            <ac:spMk id="14" creationId="{56D7802A-D9E3-5022-FEB1-A5E340BE8541}"/>
          </ac:spMkLst>
        </pc:spChg>
        <pc:spChg chg="del mod">
          <ac:chgData name="Isabel Rose Gippo" userId="S::irg9370@ads.northwestern.edu::b10bfe7e-55b9-46dd-9add-2eb52cb66d3b" providerId="AD" clId="Web-{6F4BA6F9-4A5A-3B13-85C3-6DB0B61CBC00}" dt="2023-10-24T15:47:58.760" v="1463"/>
          <ac:spMkLst>
            <pc:docMk/>
            <pc:sldMk cId="1407824229" sldId="576"/>
            <ac:spMk id="15" creationId="{33C1CB15-DF62-AAD5-40DF-C348B0B14C79}"/>
          </ac:spMkLst>
        </pc:spChg>
        <pc:spChg chg="del">
          <ac:chgData name="Isabel Rose Gippo" userId="S::irg9370@ads.northwestern.edu::b10bfe7e-55b9-46dd-9add-2eb52cb66d3b" providerId="AD" clId="Web-{6F4BA6F9-4A5A-3B13-85C3-6DB0B61CBC00}" dt="2023-10-24T15:45:15.912" v="1419"/>
          <ac:spMkLst>
            <pc:docMk/>
            <pc:sldMk cId="1407824229" sldId="576"/>
            <ac:spMk id="17" creationId="{F322531C-B747-9294-091C-9F40532B993A}"/>
          </ac:spMkLst>
        </pc:spChg>
        <pc:spChg chg="del mod">
          <ac:chgData name="Isabel Rose Gippo" userId="S::irg9370@ads.northwestern.edu::b10bfe7e-55b9-46dd-9add-2eb52cb66d3b" providerId="AD" clId="Web-{6F4BA6F9-4A5A-3B13-85C3-6DB0B61CBC00}" dt="2023-10-24T15:41:24.282" v="1336"/>
          <ac:spMkLst>
            <pc:docMk/>
            <pc:sldMk cId="1407824229" sldId="576"/>
            <ac:spMk id="19" creationId="{F49C1F1A-614A-5749-1A3F-78980B65ADBC}"/>
          </ac:spMkLst>
        </pc:spChg>
        <pc:spChg chg="del">
          <ac:chgData name="Isabel Rose Gippo" userId="S::irg9370@ads.northwestern.edu::b10bfe7e-55b9-46dd-9add-2eb52cb66d3b" providerId="AD" clId="Web-{6F4BA6F9-4A5A-3B13-85C3-6DB0B61CBC00}" dt="2023-10-24T15:47:55.823" v="1461"/>
          <ac:spMkLst>
            <pc:docMk/>
            <pc:sldMk cId="1407824229" sldId="576"/>
            <ac:spMk id="21" creationId="{16124592-48C8-CBB5-0C67-F7EC7BD3F818}"/>
          </ac:spMkLst>
        </pc:spChg>
        <pc:spChg chg="del">
          <ac:chgData name="Isabel Rose Gippo" userId="S::irg9370@ads.northwestern.edu::b10bfe7e-55b9-46dd-9add-2eb52cb66d3b" providerId="AD" clId="Web-{6F4BA6F9-4A5A-3B13-85C3-6DB0B61CBC00}" dt="2023-10-24T15:45:14.084" v="1418"/>
          <ac:spMkLst>
            <pc:docMk/>
            <pc:sldMk cId="1407824229" sldId="576"/>
            <ac:spMk id="23" creationId="{242E4660-E8A4-DB53-3AE0-E98317C0C8D3}"/>
          </ac:spMkLst>
        </pc:spChg>
        <pc:spChg chg="add mod">
          <ac:chgData name="Isabel Rose Gippo" userId="S::irg9370@ads.northwestern.edu::b10bfe7e-55b9-46dd-9add-2eb52cb66d3b" providerId="AD" clId="Web-{6F4BA6F9-4A5A-3B13-85C3-6DB0B61CBC00}" dt="2023-10-24T15:53:56.660" v="1669" actId="1076"/>
          <ac:spMkLst>
            <pc:docMk/>
            <pc:sldMk cId="1407824229" sldId="576"/>
            <ac:spMk id="26" creationId="{4E5DC01A-FD86-C088-08A9-75E4492040D0}"/>
          </ac:spMkLst>
        </pc:spChg>
        <pc:spChg chg="add del mod">
          <ac:chgData name="Isabel Rose Gippo" userId="S::irg9370@ads.northwestern.edu::b10bfe7e-55b9-46dd-9add-2eb52cb66d3b" providerId="AD" clId="Web-{6F4BA6F9-4A5A-3B13-85C3-6DB0B61CBC00}" dt="2023-10-24T15:51:55.454" v="1617"/>
          <ac:spMkLst>
            <pc:docMk/>
            <pc:sldMk cId="1407824229" sldId="576"/>
            <ac:spMk id="28" creationId="{0634AC62-B461-C579-C1E0-59D9F4B72983}"/>
          </ac:spMkLst>
        </pc:spChg>
        <pc:spChg chg="add mod">
          <ac:chgData name="Isabel Rose Gippo" userId="S::irg9370@ads.northwestern.edu::b10bfe7e-55b9-46dd-9add-2eb52cb66d3b" providerId="AD" clId="Web-{6F4BA6F9-4A5A-3B13-85C3-6DB0B61CBC00}" dt="2023-10-24T15:54:00.082" v="1670" actId="1076"/>
          <ac:spMkLst>
            <pc:docMk/>
            <pc:sldMk cId="1407824229" sldId="576"/>
            <ac:spMk id="29" creationId="{74107DB5-E209-4AEF-9800-3DE57E4F629D}"/>
          </ac:spMkLst>
        </pc:spChg>
        <pc:spChg chg="mod">
          <ac:chgData name="Isabel Rose Gippo" userId="S::irg9370@ads.northwestern.edu::b10bfe7e-55b9-46dd-9add-2eb52cb66d3b" providerId="AD" clId="Web-{6F4BA6F9-4A5A-3B13-85C3-6DB0B61CBC00}" dt="2023-10-24T15:44:47.005" v="1398" actId="20577"/>
          <ac:spMkLst>
            <pc:docMk/>
            <pc:sldMk cId="1407824229" sldId="576"/>
            <ac:spMk id="16386" creationId="{00000000-0000-0000-0000-000000000000}"/>
          </ac:spMkLst>
        </pc:spChg>
        <pc:picChg chg="add mod modCrop">
          <ac:chgData name="Isabel Rose Gippo" userId="S::irg9370@ads.northwestern.edu::b10bfe7e-55b9-46dd-9add-2eb52cb66d3b" providerId="AD" clId="Web-{6F4BA6F9-4A5A-3B13-85C3-6DB0B61CBC00}" dt="2023-10-24T15:44:22.270" v="1393" actId="1076"/>
          <ac:picMkLst>
            <pc:docMk/>
            <pc:sldMk cId="1407824229" sldId="576"/>
            <ac:picMk id="2" creationId="{B8AC14FF-4EC0-8575-EDE3-C0FA67908392}"/>
          </ac:picMkLst>
        </pc:picChg>
        <pc:picChg chg="del">
          <ac:chgData name="Isabel Rose Gippo" userId="S::irg9370@ads.northwestern.edu::b10bfe7e-55b9-46dd-9add-2eb52cb66d3b" providerId="AD" clId="Web-{6F4BA6F9-4A5A-3B13-85C3-6DB0B61CBC00}" dt="2023-10-24T15:35:08.131" v="1222"/>
          <ac:picMkLst>
            <pc:docMk/>
            <pc:sldMk cId="1407824229" sldId="576"/>
            <ac:picMk id="8" creationId="{C4A61916-BC63-F6E7-BBA0-F124F7732FEA}"/>
          </ac:picMkLst>
        </pc:picChg>
        <pc:picChg chg="add mod ord">
          <ac:chgData name="Isabel Rose Gippo" userId="S::irg9370@ads.northwestern.edu::b10bfe7e-55b9-46dd-9add-2eb52cb66d3b" providerId="AD" clId="Web-{6F4BA6F9-4A5A-3B13-85C3-6DB0B61CBC00}" dt="2023-10-24T15:44:15.411" v="1391" actId="1076"/>
          <ac:picMkLst>
            <pc:docMk/>
            <pc:sldMk cId="1407824229" sldId="576"/>
            <ac:picMk id="18" creationId="{7B1A0AA1-15B5-44AC-69EE-FA0C3636DDE8}"/>
          </ac:picMkLst>
        </pc:picChg>
        <pc:picChg chg="del">
          <ac:chgData name="Isabel Rose Gippo" userId="S::irg9370@ads.northwestern.edu::b10bfe7e-55b9-46dd-9add-2eb52cb66d3b" providerId="AD" clId="Web-{6F4BA6F9-4A5A-3B13-85C3-6DB0B61CBC00}" dt="2023-10-24T15:45:06.771" v="1415"/>
          <ac:picMkLst>
            <pc:docMk/>
            <pc:sldMk cId="1407824229" sldId="576"/>
            <ac:picMk id="20" creationId="{B6BEFD36-21D1-F003-8218-38BCE13A76CD}"/>
          </ac:picMkLst>
        </pc:picChg>
        <pc:picChg chg="add del mod">
          <ac:chgData name="Isabel Rose Gippo" userId="S::irg9370@ads.northwestern.edu::b10bfe7e-55b9-46dd-9add-2eb52cb66d3b" providerId="AD" clId="Web-{6F4BA6F9-4A5A-3B13-85C3-6DB0B61CBC00}" dt="2023-10-24T15:48:45.918" v="1475"/>
          <ac:picMkLst>
            <pc:docMk/>
            <pc:sldMk cId="1407824229" sldId="576"/>
            <ac:picMk id="22" creationId="{13DD8CE3-1FDC-102F-CBBB-FB401F1872A7}"/>
          </ac:picMkLst>
        </pc:picChg>
        <pc:picChg chg="add mod">
          <ac:chgData name="Isabel Rose Gippo" userId="S::irg9370@ads.northwestern.edu::b10bfe7e-55b9-46dd-9add-2eb52cb66d3b" providerId="AD" clId="Web-{6F4BA6F9-4A5A-3B13-85C3-6DB0B61CBC00}" dt="2023-10-24T15:53:51.160" v="1668" actId="1076"/>
          <ac:picMkLst>
            <pc:docMk/>
            <pc:sldMk cId="1407824229" sldId="576"/>
            <ac:picMk id="24" creationId="{2D6C607A-C2C1-8EE7-6156-28BA1CD6D4EB}"/>
          </ac:picMkLst>
        </pc:picChg>
      </pc:sldChg>
    </pc:docChg>
  </pc:docChgLst>
  <pc:docChgLst>
    <pc:chgData name="Alana Rivera" userId="S::arg3669@ads.northwestern.edu::fc8b707a-b7e9-4f2a-8d71-2d76819b7881" providerId="AD" clId="Web-{64CA3CFC-DFB9-4EB2-185A-94BBCF197F69}"/>
    <pc:docChg chg="addSld modSld sldOrd">
      <pc:chgData name="Alana Rivera" userId="S::arg3669@ads.northwestern.edu::fc8b707a-b7e9-4f2a-8d71-2d76819b7881" providerId="AD" clId="Web-{64CA3CFC-DFB9-4EB2-185A-94BBCF197F69}" dt="2023-10-31T18:53:06.815" v="72"/>
      <pc:docMkLst>
        <pc:docMk/>
      </pc:docMkLst>
      <pc:sldChg chg="ord">
        <pc:chgData name="Alana Rivera" userId="S::arg3669@ads.northwestern.edu::fc8b707a-b7e9-4f2a-8d71-2d76819b7881" providerId="AD" clId="Web-{64CA3CFC-DFB9-4EB2-185A-94BBCF197F69}" dt="2023-10-31T18:53:06.815" v="72"/>
        <pc:sldMkLst>
          <pc:docMk/>
          <pc:sldMk cId="3127921386" sldId="280"/>
        </pc:sldMkLst>
      </pc:sldChg>
      <pc:sldChg chg="modNotes">
        <pc:chgData name="Alana Rivera" userId="S::arg3669@ads.northwestern.edu::fc8b707a-b7e9-4f2a-8d71-2d76819b7881" providerId="AD" clId="Web-{64CA3CFC-DFB9-4EB2-185A-94BBCF197F69}" dt="2023-10-31T18:45:22.517" v="8"/>
        <pc:sldMkLst>
          <pc:docMk/>
          <pc:sldMk cId="3067427377" sldId="560"/>
        </pc:sldMkLst>
      </pc:sldChg>
      <pc:sldChg chg="modSp">
        <pc:chgData name="Alana Rivera" userId="S::arg3669@ads.northwestern.edu::fc8b707a-b7e9-4f2a-8d71-2d76819b7881" providerId="AD" clId="Web-{64CA3CFC-DFB9-4EB2-185A-94BBCF197F69}" dt="2023-10-31T18:43:53.855" v="2"/>
        <pc:sldMkLst>
          <pc:docMk/>
          <pc:sldMk cId="3030449316" sldId="579"/>
        </pc:sldMkLst>
        <pc:spChg chg="mod">
          <ac:chgData name="Alana Rivera" userId="S::arg3669@ads.northwestern.edu::fc8b707a-b7e9-4f2a-8d71-2d76819b7881" providerId="AD" clId="Web-{64CA3CFC-DFB9-4EB2-185A-94BBCF197F69}" dt="2023-10-31T18:43:53.855" v="2"/>
          <ac:spMkLst>
            <pc:docMk/>
            <pc:sldMk cId="3030449316" sldId="579"/>
            <ac:spMk id="44" creationId="{00000000-0000-0000-0000-000000000000}"/>
          </ac:spMkLst>
        </pc:spChg>
        <pc:spChg chg="mod">
          <ac:chgData name="Alana Rivera" userId="S::arg3669@ads.northwestern.edu::fc8b707a-b7e9-4f2a-8d71-2d76819b7881" providerId="AD" clId="Web-{64CA3CFC-DFB9-4EB2-185A-94BBCF197F69}" dt="2023-10-31T18:43:35.901" v="1" actId="1076"/>
          <ac:spMkLst>
            <pc:docMk/>
            <pc:sldMk cId="3030449316" sldId="579"/>
            <ac:spMk id="46" creationId="{00000000-0000-0000-0000-000000000000}"/>
          </ac:spMkLst>
        </pc:spChg>
      </pc:sldChg>
      <pc:sldChg chg="modSp modNotes">
        <pc:chgData name="Alana Rivera" userId="S::arg3669@ads.northwestern.edu::fc8b707a-b7e9-4f2a-8d71-2d76819b7881" providerId="AD" clId="Web-{64CA3CFC-DFB9-4EB2-185A-94BBCF197F69}" dt="2023-10-31T18:44:53.640" v="7"/>
        <pc:sldMkLst>
          <pc:docMk/>
          <pc:sldMk cId="3809547791" sldId="586"/>
        </pc:sldMkLst>
        <pc:spChg chg="mod">
          <ac:chgData name="Alana Rivera" userId="S::arg3669@ads.northwestern.edu::fc8b707a-b7e9-4f2a-8d71-2d76819b7881" providerId="AD" clId="Web-{64CA3CFC-DFB9-4EB2-185A-94BBCF197F69}" dt="2023-10-31T18:44:42.343" v="6" actId="1076"/>
          <ac:spMkLst>
            <pc:docMk/>
            <pc:sldMk cId="3809547791" sldId="586"/>
            <ac:spMk id="39" creationId="{00000000-0000-0000-0000-000000000000}"/>
          </ac:spMkLst>
        </pc:spChg>
        <pc:grpChg chg="mod">
          <ac:chgData name="Alana Rivera" userId="S::arg3669@ads.northwestern.edu::fc8b707a-b7e9-4f2a-8d71-2d76819b7881" providerId="AD" clId="Web-{64CA3CFC-DFB9-4EB2-185A-94BBCF197F69}" dt="2023-10-31T18:44:27.482" v="5" actId="14100"/>
          <ac:grpSpMkLst>
            <pc:docMk/>
            <pc:sldMk cId="3809547791" sldId="586"/>
            <ac:grpSpMk id="20" creationId="{00000000-0000-0000-0000-000000000000}"/>
          </ac:grpSpMkLst>
        </pc:grpChg>
      </pc:sldChg>
      <pc:sldChg chg="modNotes">
        <pc:chgData name="Alana Rivera" userId="S::arg3669@ads.northwestern.edu::fc8b707a-b7e9-4f2a-8d71-2d76819b7881" providerId="AD" clId="Web-{64CA3CFC-DFB9-4EB2-185A-94BBCF197F69}" dt="2023-10-31T18:41:46.987" v="0"/>
        <pc:sldMkLst>
          <pc:docMk/>
          <pc:sldMk cId="629433230" sldId="591"/>
        </pc:sldMkLst>
      </pc:sldChg>
      <pc:sldChg chg="modNotes">
        <pc:chgData name="Alana Rivera" userId="S::arg3669@ads.northwestern.edu::fc8b707a-b7e9-4f2a-8d71-2d76819b7881" providerId="AD" clId="Web-{64CA3CFC-DFB9-4EB2-185A-94BBCF197F69}" dt="2023-10-31T18:46:56.883" v="66"/>
        <pc:sldMkLst>
          <pc:docMk/>
          <pc:sldMk cId="2443892533" sldId="643"/>
        </pc:sldMkLst>
      </pc:sldChg>
      <pc:sldChg chg="ord">
        <pc:chgData name="Alana Rivera" userId="S::arg3669@ads.northwestern.edu::fc8b707a-b7e9-4f2a-8d71-2d76819b7881" providerId="AD" clId="Web-{64CA3CFC-DFB9-4EB2-185A-94BBCF197F69}" dt="2023-10-31T18:52:01.904" v="70"/>
        <pc:sldMkLst>
          <pc:docMk/>
          <pc:sldMk cId="641611787" sldId="648"/>
        </pc:sldMkLst>
      </pc:sldChg>
      <pc:sldChg chg="new ord">
        <pc:chgData name="Alana Rivera" userId="S::arg3669@ads.northwestern.edu::fc8b707a-b7e9-4f2a-8d71-2d76819b7881" providerId="AD" clId="Web-{64CA3CFC-DFB9-4EB2-185A-94BBCF197F69}" dt="2023-10-31T18:49:12.533" v="68"/>
        <pc:sldMkLst>
          <pc:docMk/>
          <pc:sldMk cId="1112761221" sldId="649"/>
        </pc:sldMkLst>
      </pc:sldChg>
    </pc:docChg>
  </pc:docChgLst>
  <pc:docChgLst>
    <pc:chgData name="Eileen Fleming Suse" userId="S::efs3844@ads.northwestern.edu::725c94ef-d051-42d7-9d33-8572765d592b" providerId="AD" clId="Web-{524F6783-CF9C-A7C1-D142-27E8864BC3CB}"/>
    <pc:docChg chg="modSld">
      <pc:chgData name="Eileen Fleming Suse" userId="S::efs3844@ads.northwestern.edu::725c94ef-d051-42d7-9d33-8572765d592b" providerId="AD" clId="Web-{524F6783-CF9C-A7C1-D142-27E8864BC3CB}" dt="2023-10-24T02:49:43.199" v="27" actId="20577"/>
      <pc:docMkLst>
        <pc:docMk/>
      </pc:docMkLst>
      <pc:sldChg chg="modSp">
        <pc:chgData name="Eileen Fleming Suse" userId="S::efs3844@ads.northwestern.edu::725c94ef-d051-42d7-9d33-8572765d592b" providerId="AD" clId="Web-{524F6783-CF9C-A7C1-D142-27E8864BC3CB}" dt="2023-10-24T02:49:43.199" v="27" actId="20577"/>
        <pc:sldMkLst>
          <pc:docMk/>
          <pc:sldMk cId="3845418986" sldId="563"/>
        </pc:sldMkLst>
        <pc:spChg chg="mod">
          <ac:chgData name="Eileen Fleming Suse" userId="S::efs3844@ads.northwestern.edu::725c94ef-d051-42d7-9d33-8572765d592b" providerId="AD" clId="Web-{524F6783-CF9C-A7C1-D142-27E8864BC3CB}" dt="2023-10-24T02:48:50.792" v="5" actId="20577"/>
          <ac:spMkLst>
            <pc:docMk/>
            <pc:sldMk cId="3845418986" sldId="563"/>
            <ac:spMk id="41" creationId="{00000000-0000-0000-0000-000000000000}"/>
          </ac:spMkLst>
        </pc:spChg>
        <pc:spChg chg="mod">
          <ac:chgData name="Eileen Fleming Suse" userId="S::efs3844@ads.northwestern.edu::725c94ef-d051-42d7-9d33-8572765d592b" providerId="AD" clId="Web-{524F6783-CF9C-A7C1-D142-27E8864BC3CB}" dt="2023-10-24T02:49:18.886" v="17" actId="14100"/>
          <ac:spMkLst>
            <pc:docMk/>
            <pc:sldMk cId="3845418986" sldId="563"/>
            <ac:spMk id="43" creationId="{00000000-0000-0000-0000-000000000000}"/>
          </ac:spMkLst>
        </pc:spChg>
        <pc:spChg chg="mod">
          <ac:chgData name="Eileen Fleming Suse" userId="S::efs3844@ads.northwestern.edu::725c94ef-d051-42d7-9d33-8572765d592b" providerId="AD" clId="Web-{524F6783-CF9C-A7C1-D142-27E8864BC3CB}" dt="2023-10-24T02:49:43.199" v="27" actId="20577"/>
          <ac:spMkLst>
            <pc:docMk/>
            <pc:sldMk cId="3845418986" sldId="563"/>
            <ac:spMk id="45" creationId="{00000000-0000-0000-0000-000000000000}"/>
          </ac:spMkLst>
        </pc:spChg>
      </pc:sldChg>
      <pc:sldChg chg="modSp">
        <pc:chgData name="Eileen Fleming Suse" userId="S::efs3844@ads.northwestern.edu::725c94ef-d051-42d7-9d33-8572765d592b" providerId="AD" clId="Web-{524F6783-CF9C-A7C1-D142-27E8864BC3CB}" dt="2023-10-24T02:48:43.932" v="2" actId="1076"/>
        <pc:sldMkLst>
          <pc:docMk/>
          <pc:sldMk cId="3004937174" sldId="565"/>
        </pc:sldMkLst>
        <pc:spChg chg="mod">
          <ac:chgData name="Eileen Fleming Suse" userId="S::efs3844@ads.northwestern.edu::725c94ef-d051-42d7-9d33-8572765d592b" providerId="AD" clId="Web-{524F6783-CF9C-A7C1-D142-27E8864BC3CB}" dt="2023-10-24T02:48:35.166" v="1" actId="1076"/>
          <ac:spMkLst>
            <pc:docMk/>
            <pc:sldMk cId="3004937174" sldId="565"/>
            <ac:spMk id="32" creationId="{00000000-0000-0000-0000-000000000000}"/>
          </ac:spMkLst>
        </pc:spChg>
        <pc:spChg chg="mod">
          <ac:chgData name="Eileen Fleming Suse" userId="S::efs3844@ads.northwestern.edu::725c94ef-d051-42d7-9d33-8572765d592b" providerId="AD" clId="Web-{524F6783-CF9C-A7C1-D142-27E8864BC3CB}" dt="2023-10-24T02:48:43.932" v="2" actId="1076"/>
          <ac:spMkLst>
            <pc:docMk/>
            <pc:sldMk cId="3004937174" sldId="565"/>
            <ac:spMk id="38" creationId="{00000000-0000-0000-0000-000000000000}"/>
          </ac:spMkLst>
        </pc:spChg>
      </pc:sldChg>
    </pc:docChg>
  </pc:docChgLst>
  <pc:docChgLst>
    <pc:chgData name="Alana Rivera" userId="S::arg3669@ads.northwestern.edu::fc8b707a-b7e9-4f2a-8d71-2d76819b7881" providerId="AD" clId="Web-{36AFF060-5319-E6D5-0957-513AFAA6A2E5}"/>
    <pc:docChg chg="mod addSld delSld modSld sldOrd">
      <pc:chgData name="Alana Rivera" userId="S::arg3669@ads.northwestern.edu::fc8b707a-b7e9-4f2a-8d71-2d76819b7881" providerId="AD" clId="Web-{36AFF060-5319-E6D5-0957-513AFAA6A2E5}" dt="2023-10-24T18:55:19.461" v="40"/>
      <pc:docMkLst>
        <pc:docMk/>
      </pc:docMkLst>
      <pc:sldChg chg="ord addCm">
        <pc:chgData name="Alana Rivera" userId="S::arg3669@ads.northwestern.edu::fc8b707a-b7e9-4f2a-8d71-2d76819b7881" providerId="AD" clId="Web-{36AFF060-5319-E6D5-0957-513AFAA6A2E5}" dt="2023-10-24T18:05:32.641" v="17"/>
        <pc:sldMkLst>
          <pc:docMk/>
          <pc:sldMk cId="2564870475" sldId="566"/>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36AFF060-5319-E6D5-0957-513AFAA6A2E5}" dt="2023-10-24T18:05:32.641" v="17"/>
              <pc2:cmMkLst xmlns:pc2="http://schemas.microsoft.com/office/powerpoint/2019/9/main/command">
                <pc:docMk/>
                <pc:sldMk cId="2564870475" sldId="566"/>
                <pc2:cmMk id="{2E54611F-EF9E-406A-A7DB-E8AA469FE59F}"/>
              </pc2:cmMkLst>
            </pc226:cmChg>
          </p:ext>
        </pc:extLst>
      </pc:sldChg>
      <pc:sldChg chg="del">
        <pc:chgData name="Alana Rivera" userId="S::arg3669@ads.northwestern.edu::fc8b707a-b7e9-4f2a-8d71-2d76819b7881" providerId="AD" clId="Web-{36AFF060-5319-E6D5-0957-513AFAA6A2E5}" dt="2023-10-24T18:03:49.482" v="3"/>
        <pc:sldMkLst>
          <pc:docMk/>
          <pc:sldMk cId="310672773" sldId="567"/>
        </pc:sldMkLst>
      </pc:sldChg>
      <pc:sldChg chg="addSp modSp add">
        <pc:chgData name="Alana Rivera" userId="S::arg3669@ads.northwestern.edu::fc8b707a-b7e9-4f2a-8d71-2d76819b7881" providerId="AD" clId="Web-{36AFF060-5319-E6D5-0957-513AFAA6A2E5}" dt="2023-10-24T18:55:19.461" v="40"/>
        <pc:sldMkLst>
          <pc:docMk/>
          <pc:sldMk cId="3419957415" sldId="577"/>
        </pc:sldMkLst>
        <pc:spChg chg="mod">
          <ac:chgData name="Alana Rivera" userId="S::arg3669@ads.northwestern.edu::fc8b707a-b7e9-4f2a-8d71-2d76819b7881" providerId="AD" clId="Web-{36AFF060-5319-E6D5-0957-513AFAA6A2E5}" dt="2023-10-24T18:54:56.960" v="39"/>
          <ac:spMkLst>
            <pc:docMk/>
            <pc:sldMk cId="3419957415" sldId="577"/>
            <ac:spMk id="55" creationId="{00000000-0000-0000-0000-000000000000}"/>
          </ac:spMkLst>
        </pc:spChg>
        <pc:spChg chg="mod">
          <ac:chgData name="Alana Rivera" userId="S::arg3669@ads.northwestern.edu::fc8b707a-b7e9-4f2a-8d71-2d76819b7881" providerId="AD" clId="Web-{36AFF060-5319-E6D5-0957-513AFAA6A2E5}" dt="2023-10-24T18:55:19.461" v="40"/>
          <ac:spMkLst>
            <pc:docMk/>
            <pc:sldMk cId="3419957415" sldId="577"/>
            <ac:spMk id="56" creationId="{00000000-0000-0000-0000-000000000000}"/>
          </ac:spMkLst>
        </pc:spChg>
        <pc:cxnChg chg="add mod">
          <ac:chgData name="Alana Rivera" userId="S::arg3669@ads.northwestern.edu::fc8b707a-b7e9-4f2a-8d71-2d76819b7881" providerId="AD" clId="Web-{36AFF060-5319-E6D5-0957-513AFAA6A2E5}" dt="2023-10-24T18:10:45.023" v="19" actId="14100"/>
          <ac:cxnSpMkLst>
            <pc:docMk/>
            <pc:sldMk cId="3419957415" sldId="577"/>
            <ac:cxnSpMk id="58" creationId="{7FE085C4-0A4D-D525-BEFC-A58C8B262908}"/>
          </ac:cxnSpMkLst>
        </pc:cxnChg>
        <pc:cxnChg chg="add mod">
          <ac:chgData name="Alana Rivera" userId="S::arg3669@ads.northwestern.edu::fc8b707a-b7e9-4f2a-8d71-2d76819b7881" providerId="AD" clId="Web-{36AFF060-5319-E6D5-0957-513AFAA6A2E5}" dt="2023-10-24T18:04:56.671" v="15" actId="1076"/>
          <ac:cxnSpMkLst>
            <pc:docMk/>
            <pc:sldMk cId="3419957415" sldId="577"/>
            <ac:cxnSpMk id="59" creationId="{4AB05664-6AAD-B37F-B42B-F3BE57FF4B64}"/>
          </ac:cxnSpMkLst>
        </pc:cxnChg>
        <pc:cxnChg chg="add mod">
          <ac:chgData name="Alana Rivera" userId="S::arg3669@ads.northwestern.edu::fc8b707a-b7e9-4f2a-8d71-2d76819b7881" providerId="AD" clId="Web-{36AFF060-5319-E6D5-0957-513AFAA6A2E5}" dt="2023-10-24T18:14:32.903" v="33" actId="14100"/>
          <ac:cxnSpMkLst>
            <pc:docMk/>
            <pc:sldMk cId="3419957415" sldId="577"/>
            <ac:cxnSpMk id="60" creationId="{0780975F-40AC-4431-7277-8634D267BA1E}"/>
          </ac:cxnSpMkLst>
        </pc:cxnChg>
        <pc:cxnChg chg="add mod">
          <ac:chgData name="Alana Rivera" userId="S::arg3669@ads.northwestern.edu::fc8b707a-b7e9-4f2a-8d71-2d76819b7881" providerId="AD" clId="Web-{36AFF060-5319-E6D5-0957-513AFAA6A2E5}" dt="2023-10-24T18:11:24.914" v="25" actId="14100"/>
          <ac:cxnSpMkLst>
            <pc:docMk/>
            <pc:sldMk cId="3419957415" sldId="577"/>
            <ac:cxnSpMk id="61" creationId="{E6E294E1-60D1-93D5-F703-4C8CA9125137}"/>
          </ac:cxnSpMkLst>
        </pc:cxnChg>
        <pc:cxnChg chg="add mod">
          <ac:chgData name="Alana Rivera" userId="S::arg3669@ads.northwestern.edu::fc8b707a-b7e9-4f2a-8d71-2d76819b7881" providerId="AD" clId="Web-{36AFF060-5319-E6D5-0957-513AFAA6A2E5}" dt="2023-10-24T18:12:06.525" v="31" actId="14100"/>
          <ac:cxnSpMkLst>
            <pc:docMk/>
            <pc:sldMk cId="3419957415" sldId="577"/>
            <ac:cxnSpMk id="62" creationId="{533F86FB-67E8-46C0-0C13-6B8ABD7D4C87}"/>
          </ac:cxnSpMkLst>
        </pc:cxnChg>
      </pc:sldChg>
    </pc:docChg>
  </pc:docChgLst>
  <pc:docChgLst>
    <pc:chgData name="Isabel Rose Gippo" userId="S::irg9370@ads.northwestern.edu::b10bfe7e-55b9-46dd-9add-2eb52cb66d3b" providerId="AD" clId="Web-{782B053E-75E5-959C-8BAD-C5B3CB312E1F}"/>
    <pc:docChg chg="addSld delSld modSld sldOrd">
      <pc:chgData name="Isabel Rose Gippo" userId="S::irg9370@ads.northwestern.edu::b10bfe7e-55b9-46dd-9add-2eb52cb66d3b" providerId="AD" clId="Web-{782B053E-75E5-959C-8BAD-C5B3CB312E1F}" dt="2023-10-27T17:32:56.380" v="8"/>
      <pc:docMkLst>
        <pc:docMk/>
      </pc:docMkLst>
      <pc:sldChg chg="del">
        <pc:chgData name="Isabel Rose Gippo" userId="S::irg9370@ads.northwestern.edu::b10bfe7e-55b9-46dd-9add-2eb52cb66d3b" providerId="AD" clId="Web-{782B053E-75E5-959C-8BAD-C5B3CB312E1F}" dt="2023-10-27T17:32:56.380" v="8"/>
        <pc:sldMkLst>
          <pc:docMk/>
          <pc:sldMk cId="81318788" sldId="597"/>
        </pc:sldMkLst>
      </pc:sldChg>
      <pc:sldChg chg="new del">
        <pc:chgData name="Isabel Rose Gippo" userId="S::irg9370@ads.northwestern.edu::b10bfe7e-55b9-46dd-9add-2eb52cb66d3b" providerId="AD" clId="Web-{782B053E-75E5-959C-8BAD-C5B3CB312E1F}" dt="2023-10-27T15:59:59.727" v="2"/>
        <pc:sldMkLst>
          <pc:docMk/>
          <pc:sldMk cId="1436311312" sldId="598"/>
        </pc:sldMkLst>
      </pc:sldChg>
      <pc:sldChg chg="del">
        <pc:chgData name="Isabel Rose Gippo" userId="S::irg9370@ads.northwestern.edu::b10bfe7e-55b9-46dd-9add-2eb52cb66d3b" providerId="AD" clId="Web-{782B053E-75E5-959C-8BAD-C5B3CB312E1F}" dt="2023-10-27T15:59:36.867" v="0"/>
        <pc:sldMkLst>
          <pc:docMk/>
          <pc:sldMk cId="1569232529" sldId="598"/>
        </pc:sldMkLst>
      </pc:sldChg>
      <pc:sldChg chg="delSp new del ord">
        <pc:chgData name="Isabel Rose Gippo" userId="S::irg9370@ads.northwestern.edu::b10bfe7e-55b9-46dd-9add-2eb52cb66d3b" providerId="AD" clId="Web-{782B053E-75E5-959C-8BAD-C5B3CB312E1F}" dt="2023-10-27T17:32:45.256" v="7"/>
        <pc:sldMkLst>
          <pc:docMk/>
          <pc:sldMk cId="1930759565" sldId="598"/>
        </pc:sldMkLst>
        <pc:spChg chg="del">
          <ac:chgData name="Isabel Rose Gippo" userId="S::irg9370@ads.northwestern.edu::b10bfe7e-55b9-46dd-9add-2eb52cb66d3b" providerId="AD" clId="Web-{782B053E-75E5-959C-8BAD-C5B3CB312E1F}" dt="2023-10-27T16:00:24.525" v="4"/>
          <ac:spMkLst>
            <pc:docMk/>
            <pc:sldMk cId="1930759565" sldId="598"/>
            <ac:spMk id="2" creationId="{ABF36D30-BDF6-6FEC-3FE6-37A1A717E4A8}"/>
          </ac:spMkLst>
        </pc:spChg>
        <pc:spChg chg="del">
          <ac:chgData name="Isabel Rose Gippo" userId="S::irg9370@ads.northwestern.edu::b10bfe7e-55b9-46dd-9add-2eb52cb66d3b" providerId="AD" clId="Web-{782B053E-75E5-959C-8BAD-C5B3CB312E1F}" dt="2023-10-27T16:00:26.244" v="5"/>
          <ac:spMkLst>
            <pc:docMk/>
            <pc:sldMk cId="1930759565" sldId="598"/>
            <ac:spMk id="3" creationId="{31C83F74-E170-8C1C-B7A5-F83D8496A049}"/>
          </ac:spMkLst>
        </pc:spChg>
      </pc:sldChg>
    </pc:docChg>
  </pc:docChgLst>
  <pc:docChgLst>
    <pc:chgData name="Eileen Fleming Suse" userId="S::efs3844@ads.northwestern.edu::725c94ef-d051-42d7-9d33-8572765d592b" providerId="AD" clId="Web-{11980D98-74D1-71E7-E86A-19E64303BD27}"/>
    <pc:docChg chg="modSld sldOrd">
      <pc:chgData name="Eileen Fleming Suse" userId="S::efs3844@ads.northwestern.edu::725c94ef-d051-42d7-9d33-8572765d592b" providerId="AD" clId="Web-{11980D98-74D1-71E7-E86A-19E64303BD27}" dt="2023-10-30T16:12:53.918" v="90" actId="1076"/>
      <pc:docMkLst>
        <pc:docMk/>
      </pc:docMkLst>
      <pc:sldChg chg="delSp modSp">
        <pc:chgData name="Eileen Fleming Suse" userId="S::efs3844@ads.northwestern.edu::725c94ef-d051-42d7-9d33-8572765d592b" providerId="AD" clId="Web-{11980D98-74D1-71E7-E86A-19E64303BD27}" dt="2023-10-30T15:54:09.163" v="65" actId="1076"/>
        <pc:sldMkLst>
          <pc:docMk/>
          <pc:sldMk cId="3472964082" sldId="550"/>
        </pc:sldMkLst>
        <pc:spChg chg="mod">
          <ac:chgData name="Eileen Fleming Suse" userId="S::efs3844@ads.northwestern.edu::725c94ef-d051-42d7-9d33-8572765d592b" providerId="AD" clId="Web-{11980D98-74D1-71E7-E86A-19E64303BD27}" dt="2023-10-30T15:52:44.895" v="41" actId="20577"/>
          <ac:spMkLst>
            <pc:docMk/>
            <pc:sldMk cId="3472964082" sldId="550"/>
            <ac:spMk id="20" creationId="{00000000-0000-0000-0000-000000000000}"/>
          </ac:spMkLst>
        </pc:spChg>
        <pc:spChg chg="mod">
          <ac:chgData name="Eileen Fleming Suse" userId="S::efs3844@ads.northwestern.edu::725c94ef-d051-42d7-9d33-8572765d592b" providerId="AD" clId="Web-{11980D98-74D1-71E7-E86A-19E64303BD27}" dt="2023-10-30T15:54:09.163" v="65" actId="1076"/>
          <ac:spMkLst>
            <pc:docMk/>
            <pc:sldMk cId="3472964082" sldId="550"/>
            <ac:spMk id="23" creationId="{00000000-0000-0000-0000-000000000000}"/>
          </ac:spMkLst>
        </pc:spChg>
        <pc:spChg chg="mod">
          <ac:chgData name="Eileen Fleming Suse" userId="S::efs3844@ads.northwestern.edu::725c94ef-d051-42d7-9d33-8572765d592b" providerId="AD" clId="Web-{11980D98-74D1-71E7-E86A-19E64303BD27}" dt="2023-10-30T15:53:06.724" v="46"/>
          <ac:spMkLst>
            <pc:docMk/>
            <pc:sldMk cId="3472964082" sldId="550"/>
            <ac:spMk id="31" creationId="{00000000-0000-0000-0000-000000000000}"/>
          </ac:spMkLst>
        </pc:spChg>
        <pc:spChg chg="del">
          <ac:chgData name="Eileen Fleming Suse" userId="S::efs3844@ads.northwestern.edu::725c94ef-d051-42d7-9d33-8572765d592b" providerId="AD" clId="Web-{11980D98-74D1-71E7-E86A-19E64303BD27}" dt="2023-10-30T15:50:43.361" v="19"/>
          <ac:spMkLst>
            <pc:docMk/>
            <pc:sldMk cId="3472964082" sldId="550"/>
            <ac:spMk id="32" creationId="{00000000-0000-0000-0000-000000000000}"/>
          </ac:spMkLst>
        </pc:spChg>
        <pc:spChg chg="mod">
          <ac:chgData name="Eileen Fleming Suse" userId="S::efs3844@ads.northwestern.edu::725c94ef-d051-42d7-9d33-8572765d592b" providerId="AD" clId="Web-{11980D98-74D1-71E7-E86A-19E64303BD27}" dt="2023-10-30T15:53:06.084" v="42" actId="1076"/>
          <ac:spMkLst>
            <pc:docMk/>
            <pc:sldMk cId="3472964082" sldId="550"/>
            <ac:spMk id="51" creationId="{00000000-0000-0000-0000-000000000000}"/>
          </ac:spMkLst>
        </pc:spChg>
        <pc:spChg chg="mod">
          <ac:chgData name="Eileen Fleming Suse" userId="S::efs3844@ads.northwestern.edu::725c94ef-d051-42d7-9d33-8572765d592b" providerId="AD" clId="Web-{11980D98-74D1-71E7-E86A-19E64303BD27}" dt="2023-10-30T15:54:07.460" v="64" actId="1076"/>
          <ac:spMkLst>
            <pc:docMk/>
            <pc:sldMk cId="3472964082" sldId="550"/>
            <ac:spMk id="53" creationId="{00000000-0000-0000-0000-000000000000}"/>
          </ac:spMkLst>
        </pc:spChg>
        <pc:grpChg chg="mod">
          <ac:chgData name="Eileen Fleming Suse" userId="S::efs3844@ads.northwestern.edu::725c94ef-d051-42d7-9d33-8572765d592b" providerId="AD" clId="Web-{11980D98-74D1-71E7-E86A-19E64303BD27}" dt="2023-10-30T15:53:09.115" v="47" actId="1076"/>
          <ac:grpSpMkLst>
            <pc:docMk/>
            <pc:sldMk cId="3472964082" sldId="550"/>
            <ac:grpSpMk id="55" creationId="{00000000-0000-0000-0000-000000000000}"/>
          </ac:grpSpMkLst>
        </pc:grpChg>
      </pc:sldChg>
      <pc:sldChg chg="modSp ord">
        <pc:chgData name="Eileen Fleming Suse" userId="S::efs3844@ads.northwestern.edu::725c94ef-d051-42d7-9d33-8572765d592b" providerId="AD" clId="Web-{11980D98-74D1-71E7-E86A-19E64303BD27}" dt="2023-10-30T15:55:23.587" v="88" actId="14100"/>
        <pc:sldMkLst>
          <pc:docMk/>
          <pc:sldMk cId="2562283095" sldId="551"/>
        </pc:sldMkLst>
        <pc:spChg chg="mod">
          <ac:chgData name="Eileen Fleming Suse" userId="S::efs3844@ads.northwestern.edu::725c94ef-d051-42d7-9d33-8572765d592b" providerId="AD" clId="Web-{11980D98-74D1-71E7-E86A-19E64303BD27}" dt="2023-10-30T15:54:18.289" v="66" actId="20577"/>
          <ac:spMkLst>
            <pc:docMk/>
            <pc:sldMk cId="2562283095" sldId="551"/>
            <ac:spMk id="20" creationId="{00000000-0000-0000-0000-000000000000}"/>
          </ac:spMkLst>
        </pc:spChg>
        <pc:spChg chg="mod">
          <ac:chgData name="Eileen Fleming Suse" userId="S::efs3844@ads.northwestern.edu::725c94ef-d051-42d7-9d33-8572765d592b" providerId="AD" clId="Web-{11980D98-74D1-71E7-E86A-19E64303BD27}" dt="2023-10-30T15:54:40.430" v="72" actId="20577"/>
          <ac:spMkLst>
            <pc:docMk/>
            <pc:sldMk cId="2562283095" sldId="551"/>
            <ac:spMk id="23" creationId="{00000000-0000-0000-0000-000000000000}"/>
          </ac:spMkLst>
        </pc:spChg>
        <pc:spChg chg="mod">
          <ac:chgData name="Eileen Fleming Suse" userId="S::efs3844@ads.northwestern.edu::725c94ef-d051-42d7-9d33-8572765d592b" providerId="AD" clId="Web-{11980D98-74D1-71E7-E86A-19E64303BD27}" dt="2023-10-30T15:55:23.587" v="88" actId="14100"/>
          <ac:spMkLst>
            <pc:docMk/>
            <pc:sldMk cId="2562283095" sldId="551"/>
            <ac:spMk id="31" creationId="{00000000-0000-0000-0000-000000000000}"/>
          </ac:spMkLst>
        </pc:spChg>
        <pc:spChg chg="mod">
          <ac:chgData name="Eileen Fleming Suse" userId="S::efs3844@ads.northwestern.edu::725c94ef-d051-42d7-9d33-8572765d592b" providerId="AD" clId="Web-{11980D98-74D1-71E7-E86A-19E64303BD27}" dt="2023-10-30T15:54:28.242" v="69" actId="1076"/>
          <ac:spMkLst>
            <pc:docMk/>
            <pc:sldMk cId="2562283095" sldId="551"/>
            <ac:spMk id="51" creationId="{00000000-0000-0000-0000-000000000000}"/>
          </ac:spMkLst>
        </pc:spChg>
        <pc:spChg chg="mod">
          <ac:chgData name="Eileen Fleming Suse" userId="S::efs3844@ads.northwestern.edu::725c94ef-d051-42d7-9d33-8572765d592b" providerId="AD" clId="Web-{11980D98-74D1-71E7-E86A-19E64303BD27}" dt="2023-10-30T15:55:07.384" v="82"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11980D98-74D1-71E7-E86A-19E64303BD27}" dt="2023-10-30T16:12:53.918" v="90" actId="1076"/>
        <pc:sldMkLst>
          <pc:docMk/>
          <pc:sldMk cId="1141815353" sldId="562"/>
        </pc:sldMkLst>
        <pc:spChg chg="mod">
          <ac:chgData name="Eileen Fleming Suse" userId="S::efs3844@ads.northwestern.edu::725c94ef-d051-42d7-9d33-8572765d592b" providerId="AD" clId="Web-{11980D98-74D1-71E7-E86A-19E64303BD27}" dt="2023-10-30T16:12:53.918" v="90" actId="1076"/>
          <ac:spMkLst>
            <pc:docMk/>
            <pc:sldMk cId="1141815353" sldId="562"/>
            <ac:spMk id="13" creationId="{2FC08365-C48A-7DB8-BBA6-D9EB552FFD55}"/>
          </ac:spMkLst>
        </pc:spChg>
        <pc:graphicFrameChg chg="mod">
          <ac:chgData name="Eileen Fleming Suse" userId="S::efs3844@ads.northwestern.edu::725c94ef-d051-42d7-9d33-8572765d592b" providerId="AD" clId="Web-{11980D98-74D1-71E7-E86A-19E64303BD27}" dt="2023-10-30T16:12:27.854" v="89" actId="1076"/>
          <ac:graphicFrameMkLst>
            <pc:docMk/>
            <pc:sldMk cId="1141815353" sldId="562"/>
            <ac:graphicFrameMk id="137" creationId="{61D68665-D38F-2DB1-AAFC-535C715B7F9F}"/>
          </ac:graphicFrameMkLst>
        </pc:graphicFrameChg>
      </pc:sldChg>
    </pc:docChg>
  </pc:docChgLst>
  <pc:docChgLst>
    <pc:chgData name="Eileen Fleming Suse" userId="S::efs3844@ads.northwestern.edu::725c94ef-d051-42d7-9d33-8572765d592b" providerId="AD" clId="Web-{C93D31B3-2B8C-DAAF-7090-3A2197BCB065}"/>
    <pc:docChg chg="addSld delSld modSld sldOrd">
      <pc:chgData name="Eileen Fleming Suse" userId="S::efs3844@ads.northwestern.edu::725c94ef-d051-42d7-9d33-8572765d592b" providerId="AD" clId="Web-{C93D31B3-2B8C-DAAF-7090-3A2197BCB065}" dt="2023-10-27T21:32:15.542" v="226"/>
      <pc:docMkLst>
        <pc:docMk/>
      </pc:docMkLst>
      <pc:sldChg chg="delCm">
        <pc:chgData name="Eileen Fleming Suse" userId="S::efs3844@ads.northwestern.edu::725c94ef-d051-42d7-9d33-8572765d592b" providerId="AD" clId="Web-{C93D31B3-2B8C-DAAF-7090-3A2197BCB065}" dt="2023-10-27T20:38:25.630" v="101"/>
        <pc:sldMkLst>
          <pc:docMk/>
          <pc:sldMk cId="2351229145" sldId="54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0:38:25.630" v="101"/>
              <pc2:cmMkLst xmlns:pc2="http://schemas.microsoft.com/office/powerpoint/2019/9/main/command">
                <pc:docMk/>
                <pc:sldMk cId="2351229145" sldId="544"/>
                <pc2:cmMk id="{94040B62-D001-43B9-8FD0-0A8B0C9B684C}"/>
              </pc2:cmMkLst>
            </pc226:cmChg>
          </p:ext>
        </pc:extLst>
      </pc:sldChg>
      <pc:sldChg chg="modSp">
        <pc:chgData name="Eileen Fleming Suse" userId="S::efs3844@ads.northwestern.edu::725c94ef-d051-42d7-9d33-8572765d592b" providerId="AD" clId="Web-{C93D31B3-2B8C-DAAF-7090-3A2197BCB065}" dt="2023-10-27T20:37:55.739" v="100" actId="20577"/>
        <pc:sldMkLst>
          <pc:docMk/>
          <pc:sldMk cId="1141815353" sldId="562"/>
        </pc:sldMkLst>
        <pc:spChg chg="mod">
          <ac:chgData name="Eileen Fleming Suse" userId="S::efs3844@ads.northwestern.edu::725c94ef-d051-42d7-9d33-8572765d592b" providerId="AD" clId="Web-{C93D31B3-2B8C-DAAF-7090-3A2197BCB065}" dt="2023-10-27T20:37:55.739" v="100" actId="20577"/>
          <ac:spMkLst>
            <pc:docMk/>
            <pc:sldMk cId="1141815353" sldId="562"/>
            <ac:spMk id="2" creationId="{05579FEB-3306-A04E-6516-F16994F3B0F9}"/>
          </ac:spMkLst>
        </pc:spChg>
        <pc:spChg chg="mod">
          <ac:chgData name="Eileen Fleming Suse" userId="S::efs3844@ads.northwestern.edu::725c94ef-d051-42d7-9d33-8572765d592b" providerId="AD" clId="Web-{C93D31B3-2B8C-DAAF-7090-3A2197BCB065}" dt="2023-10-27T20:37:49.195" v="99"/>
          <ac:spMkLst>
            <pc:docMk/>
            <pc:sldMk cId="1141815353" sldId="562"/>
            <ac:spMk id="360" creationId="{FE59A3A2-BFF2-9772-51D6-9CCB620AEB53}"/>
          </ac:spMkLst>
        </pc:spChg>
        <pc:graphicFrameChg chg="modGraphic">
          <ac:chgData name="Eileen Fleming Suse" userId="S::efs3844@ads.northwestern.edu::725c94ef-d051-42d7-9d33-8572765d592b" providerId="AD" clId="Web-{C93D31B3-2B8C-DAAF-7090-3A2197BCB065}" dt="2023-10-27T20:37:40.614" v="96" actId="20577"/>
          <ac:graphicFrameMkLst>
            <pc:docMk/>
            <pc:sldMk cId="1141815353" sldId="562"/>
            <ac:graphicFrameMk id="137" creationId="{61D68665-D38F-2DB1-AAFC-535C715B7F9F}"/>
          </ac:graphicFrameMkLst>
        </pc:graphicFrameChg>
      </pc:sldChg>
      <pc:sldChg chg="addAnim">
        <pc:chgData name="Eileen Fleming Suse" userId="S::efs3844@ads.northwestern.edu::725c94ef-d051-42d7-9d33-8572765d592b" providerId="AD" clId="Web-{C93D31B3-2B8C-DAAF-7090-3A2197BCB065}" dt="2023-10-27T20:34:45.141" v="77"/>
        <pc:sldMkLst>
          <pc:docMk/>
          <pc:sldMk cId="3845418986" sldId="563"/>
        </pc:sldMkLst>
      </pc:sldChg>
      <pc:sldChg chg="addAnim delAnim modAnim">
        <pc:chgData name="Eileen Fleming Suse" userId="S::efs3844@ads.northwestern.edu::725c94ef-d051-42d7-9d33-8572765d592b" providerId="AD" clId="Web-{C93D31B3-2B8C-DAAF-7090-3A2197BCB065}" dt="2023-10-27T20:34:35.282" v="76"/>
        <pc:sldMkLst>
          <pc:docMk/>
          <pc:sldMk cId="1536434647" sldId="564"/>
        </pc:sldMkLst>
      </pc:sldChg>
      <pc:sldChg chg="delSp">
        <pc:chgData name="Eileen Fleming Suse" userId="S::efs3844@ads.northwestern.edu::725c94ef-d051-42d7-9d33-8572765d592b" providerId="AD" clId="Web-{C93D31B3-2B8C-DAAF-7090-3A2197BCB065}" dt="2023-10-27T20:25:58.630" v="11"/>
        <pc:sldMkLst>
          <pc:docMk/>
          <pc:sldMk cId="3870927286" sldId="583"/>
        </pc:sldMkLst>
        <pc:spChg chg="del">
          <ac:chgData name="Eileen Fleming Suse" userId="S::efs3844@ads.northwestern.edu::725c94ef-d051-42d7-9d33-8572765d592b" providerId="AD" clId="Web-{C93D31B3-2B8C-DAAF-7090-3A2197BCB065}" dt="2023-10-27T20:25:58.630" v="8"/>
          <ac:spMkLst>
            <pc:docMk/>
            <pc:sldMk cId="3870927286" sldId="583"/>
            <ac:spMk id="48" creationId="{00000000-0000-0000-0000-000000000000}"/>
          </ac:spMkLst>
        </pc:spChg>
        <pc:spChg chg="del">
          <ac:chgData name="Eileen Fleming Suse" userId="S::efs3844@ads.northwestern.edu::725c94ef-d051-42d7-9d33-8572765d592b" providerId="AD" clId="Web-{C93D31B3-2B8C-DAAF-7090-3A2197BCB065}" dt="2023-10-27T20:25:58.630" v="7"/>
          <ac:spMkLst>
            <pc:docMk/>
            <pc:sldMk cId="3870927286" sldId="583"/>
            <ac:spMk id="49" creationId="{00000000-0000-0000-0000-000000000000}"/>
          </ac:spMkLst>
        </pc:spChg>
        <pc:spChg chg="del">
          <ac:chgData name="Eileen Fleming Suse" userId="S::efs3844@ads.northwestern.edu::725c94ef-d051-42d7-9d33-8572765d592b" providerId="AD" clId="Web-{C93D31B3-2B8C-DAAF-7090-3A2197BCB065}" dt="2023-10-27T20:25:58.630" v="6"/>
          <ac:spMkLst>
            <pc:docMk/>
            <pc:sldMk cId="3870927286" sldId="583"/>
            <ac:spMk id="50" creationId="{00000000-0000-0000-0000-000000000000}"/>
          </ac:spMkLst>
        </pc:spChg>
        <pc:grpChg chg="del">
          <ac:chgData name="Eileen Fleming Suse" userId="S::efs3844@ads.northwestern.edu::725c94ef-d051-42d7-9d33-8572765d592b" providerId="AD" clId="Web-{C93D31B3-2B8C-DAAF-7090-3A2197BCB065}" dt="2023-10-27T20:25:58.630" v="11"/>
          <ac:grpSpMkLst>
            <pc:docMk/>
            <pc:sldMk cId="3870927286" sldId="583"/>
            <ac:grpSpMk id="18" creationId="{00000000-0000-0000-0000-000000000000}"/>
          </ac:grpSpMkLst>
        </pc:grpChg>
        <pc:grpChg chg="del">
          <ac:chgData name="Eileen Fleming Suse" userId="S::efs3844@ads.northwestern.edu::725c94ef-d051-42d7-9d33-8572765d592b" providerId="AD" clId="Web-{C93D31B3-2B8C-DAAF-7090-3A2197BCB065}" dt="2023-10-27T20:25:58.630" v="10"/>
          <ac:grpSpMkLst>
            <pc:docMk/>
            <pc:sldMk cId="3870927286" sldId="583"/>
            <ac:grpSpMk id="42" creationId="{00000000-0000-0000-0000-000000000000}"/>
          </ac:grpSpMkLst>
        </pc:grpChg>
        <pc:grpChg chg="del">
          <ac:chgData name="Eileen Fleming Suse" userId="S::efs3844@ads.northwestern.edu::725c94ef-d051-42d7-9d33-8572765d592b" providerId="AD" clId="Web-{C93D31B3-2B8C-DAAF-7090-3A2197BCB065}" dt="2023-10-27T20:25:58.630" v="9"/>
          <ac:grpSpMkLst>
            <pc:docMk/>
            <pc:sldMk cId="3870927286" sldId="583"/>
            <ac:grpSpMk id="45" creationId="{00000000-0000-0000-0000-000000000000}"/>
          </ac:grpSpMkLst>
        </pc:grpChg>
      </pc:sldChg>
      <pc:sldChg chg="addAnim">
        <pc:chgData name="Eileen Fleming Suse" userId="S::efs3844@ads.northwestern.edu::725c94ef-d051-42d7-9d33-8572765d592b" providerId="AD" clId="Web-{C93D31B3-2B8C-DAAF-7090-3A2197BCB065}" dt="2023-10-27T20:36:02.424" v="82"/>
        <pc:sldMkLst>
          <pc:docMk/>
          <pc:sldMk cId="3561966490" sldId="585"/>
        </pc:sldMkLst>
      </pc:sldChg>
      <pc:sldChg chg="addAnim">
        <pc:chgData name="Eileen Fleming Suse" userId="S::efs3844@ads.northwestern.edu::725c94ef-d051-42d7-9d33-8572765d592b" providerId="AD" clId="Web-{C93D31B3-2B8C-DAAF-7090-3A2197BCB065}" dt="2023-10-27T20:35:43.361" v="81"/>
        <pc:sldMkLst>
          <pc:docMk/>
          <pc:sldMk cId="3809547791" sldId="586"/>
        </pc:sldMkLst>
      </pc:sldChg>
      <pc:sldChg chg="addAnim">
        <pc:chgData name="Eileen Fleming Suse" userId="S::efs3844@ads.northwestern.edu::725c94ef-d051-42d7-9d33-8572765d592b" providerId="AD" clId="Web-{C93D31B3-2B8C-DAAF-7090-3A2197BCB065}" dt="2023-10-27T20:35:34.392" v="80"/>
        <pc:sldMkLst>
          <pc:docMk/>
          <pc:sldMk cId="1598854783" sldId="587"/>
        </pc:sldMkLst>
      </pc:sldChg>
      <pc:sldChg chg="addAnim">
        <pc:chgData name="Eileen Fleming Suse" userId="S::efs3844@ads.northwestern.edu::725c94ef-d051-42d7-9d33-8572765d592b" providerId="AD" clId="Web-{C93D31B3-2B8C-DAAF-7090-3A2197BCB065}" dt="2023-10-27T20:35:16.720" v="79"/>
        <pc:sldMkLst>
          <pc:docMk/>
          <pc:sldMk cId="3832963388" sldId="588"/>
        </pc:sldMkLst>
      </pc:sldChg>
      <pc:sldChg chg="addAnim">
        <pc:chgData name="Eileen Fleming Suse" userId="S::efs3844@ads.northwestern.edu::725c94ef-d051-42d7-9d33-8572765d592b" providerId="AD" clId="Web-{C93D31B3-2B8C-DAAF-7090-3A2197BCB065}" dt="2023-10-27T20:35:00.423" v="78"/>
        <pc:sldMkLst>
          <pc:docMk/>
          <pc:sldMk cId="629433230" sldId="591"/>
        </pc:sldMkLst>
      </pc:sldChg>
      <pc:sldChg chg="modNotes">
        <pc:chgData name="Eileen Fleming Suse" userId="S::efs3844@ads.northwestern.edu::725c94ef-d051-42d7-9d33-8572765d592b" providerId="AD" clId="Web-{C93D31B3-2B8C-DAAF-7090-3A2197BCB065}" dt="2023-10-27T20:51:02.849" v="104"/>
        <pc:sldMkLst>
          <pc:docMk/>
          <pc:sldMk cId="2470795492" sldId="599"/>
        </pc:sldMkLst>
      </pc:sldChg>
      <pc:sldChg chg="addSp delSp modSp modCm">
        <pc:chgData name="Eileen Fleming Suse" userId="S::efs3844@ads.northwestern.edu::725c94ef-d051-42d7-9d33-8572765d592b" providerId="AD" clId="Web-{C93D31B3-2B8C-DAAF-7090-3A2197BCB065}" dt="2023-10-27T21:31:50.088" v="225"/>
        <pc:sldMkLst>
          <pc:docMk/>
          <pc:sldMk cId="3355787309" sldId="604"/>
        </pc:sldMkLst>
        <pc:spChg chg="mod">
          <ac:chgData name="Eileen Fleming Suse" userId="S::efs3844@ads.northwestern.edu::725c94ef-d051-42d7-9d33-8572765d592b" providerId="AD" clId="Web-{C93D31B3-2B8C-DAAF-7090-3A2197BCB065}" dt="2023-10-27T21:31:34.291" v="220" actId="1076"/>
          <ac:spMkLst>
            <pc:docMk/>
            <pc:sldMk cId="3355787309" sldId="604"/>
            <ac:spMk id="2" creationId="{3D3DB2FD-422B-6FE2-6A77-68A0BED56A59}"/>
          </ac:spMkLst>
        </pc:spChg>
        <pc:spChg chg="del mod">
          <ac:chgData name="Eileen Fleming Suse" userId="S::efs3844@ads.northwestern.edu::725c94ef-d051-42d7-9d33-8572765d592b" providerId="AD" clId="Web-{C93D31B3-2B8C-DAAF-7090-3A2197BCB065}" dt="2023-10-27T21:02:41.005" v="106"/>
          <ac:spMkLst>
            <pc:docMk/>
            <pc:sldMk cId="3355787309" sldId="604"/>
            <ac:spMk id="3" creationId="{B1DF9D3E-53CE-A0B4-3C3C-775A3E3EE2E0}"/>
          </ac:spMkLst>
        </pc:spChg>
        <pc:spChg chg="add mod">
          <ac:chgData name="Eileen Fleming Suse" userId="S::efs3844@ads.northwestern.edu::725c94ef-d051-42d7-9d33-8572765d592b" providerId="AD" clId="Web-{C93D31B3-2B8C-DAAF-7090-3A2197BCB065}" dt="2023-10-27T21:31:44.448" v="224" actId="14100"/>
          <ac:spMkLst>
            <pc:docMk/>
            <pc:sldMk cId="3355787309" sldId="604"/>
            <ac:spMk id="7" creationId="{C2C4A4FB-85F0-1A6F-FCE0-0B66658A2386}"/>
          </ac:spMkLst>
        </pc:spChg>
        <pc:picChg chg="add del mod">
          <ac:chgData name="Eileen Fleming Suse" userId="S::efs3844@ads.northwestern.edu::725c94ef-d051-42d7-9d33-8572765d592b" providerId="AD" clId="Web-{C93D31B3-2B8C-DAAF-7090-3A2197BCB065}" dt="2023-10-27T21:29:46.945" v="207"/>
          <ac:picMkLst>
            <pc:docMk/>
            <pc:sldMk cId="3355787309" sldId="604"/>
            <ac:picMk id="8" creationId="{CFCA719F-085D-BF88-9706-0C08E8805D92}"/>
          </ac:picMkLst>
        </pc:picChg>
        <pc:picChg chg="add del mod">
          <ac:chgData name="Eileen Fleming Suse" userId="S::efs3844@ads.northwestern.edu::725c94ef-d051-42d7-9d33-8572765d592b" providerId="AD" clId="Web-{C93D31B3-2B8C-DAAF-7090-3A2197BCB065}" dt="2023-10-27T21:30:15.743" v="212"/>
          <ac:picMkLst>
            <pc:docMk/>
            <pc:sldMk cId="3355787309" sldId="604"/>
            <ac:picMk id="9" creationId="{A76D19E5-C9EB-D9B7-1001-C47E41765400}"/>
          </ac:picMkLst>
        </pc:picChg>
        <pc:picChg chg="add mod">
          <ac:chgData name="Eileen Fleming Suse" userId="S::efs3844@ads.northwestern.edu::725c94ef-d051-42d7-9d33-8572765d592b" providerId="AD" clId="Web-{C93D31B3-2B8C-DAAF-7090-3A2197BCB065}" dt="2023-10-27T21:31:30.338" v="218" actId="1076"/>
          <ac:picMkLst>
            <pc:docMk/>
            <pc:sldMk cId="3355787309" sldId="604"/>
            <ac:picMk id="10" creationId="{66E5EB26-086B-E77E-CBE6-BB12DE36113C}"/>
          </ac:picMkLst>
        </pc:picChg>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C93D31B3-2B8C-DAAF-7090-3A2197BCB065}" dt="2023-10-27T21:31:50.088" v="225"/>
              <pc2:cmMkLst xmlns:pc2="http://schemas.microsoft.com/office/powerpoint/2019/9/main/command">
                <pc:docMk/>
                <pc:sldMk cId="3355787309" sldId="604"/>
                <pc2:cmMk id="{5635E0A6-AC69-4FB6-B7FE-9DA078BBCAEE}"/>
              </pc2:cmMkLst>
            </pc226:cmChg>
          </p:ext>
        </pc:extLst>
      </pc:sldChg>
      <pc:sldChg chg="addSp delSp modSp">
        <pc:chgData name="Eileen Fleming Suse" userId="S::efs3844@ads.northwestern.edu::725c94ef-d051-42d7-9d33-8572765d592b" providerId="AD" clId="Web-{C93D31B3-2B8C-DAAF-7090-3A2197BCB065}" dt="2023-10-27T21:04:15.366" v="110"/>
        <pc:sldMkLst>
          <pc:docMk/>
          <pc:sldMk cId="1452140663" sldId="605"/>
        </pc:sldMkLst>
        <pc:spChg chg="add del mod">
          <ac:chgData name="Eileen Fleming Suse" userId="S::efs3844@ads.northwestern.edu::725c94ef-d051-42d7-9d33-8572765d592b" providerId="AD" clId="Web-{C93D31B3-2B8C-DAAF-7090-3A2197BCB065}" dt="2023-10-27T21:04:15.366" v="110"/>
          <ac:spMkLst>
            <pc:docMk/>
            <pc:sldMk cId="1452140663" sldId="605"/>
            <ac:spMk id="3" creationId="{7DA7F350-CE79-EDF6-B779-CC8CCCE0E40A}"/>
          </ac:spMkLst>
        </pc:spChg>
      </pc:sldChg>
      <pc:sldChg chg="delCm">
        <pc:chgData name="Eileen Fleming Suse" userId="S::efs3844@ads.northwestern.edu::725c94ef-d051-42d7-9d33-8572765d592b" providerId="AD" clId="Web-{C93D31B3-2B8C-DAAF-7090-3A2197BCB065}" dt="2023-10-27T21:32:15.542" v="226"/>
        <pc:sldMkLst>
          <pc:docMk/>
          <pc:sldMk cId="2003568291" sldId="609"/>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1:32:15.542" v="226"/>
              <pc2:cmMkLst xmlns:pc2="http://schemas.microsoft.com/office/powerpoint/2019/9/main/command">
                <pc:docMk/>
                <pc:sldMk cId="2003568291" sldId="609"/>
                <pc2:cmMk id="{AE1B6C45-0EF0-4CD3-8E51-393E7FE3AF62}"/>
              </pc2:cmMkLst>
            </pc226:cmChg>
          </p:ext>
        </pc:extLst>
      </pc:sldChg>
      <pc:sldChg chg="modSp">
        <pc:chgData name="Eileen Fleming Suse" userId="S::efs3844@ads.northwestern.edu::725c94ef-d051-42d7-9d33-8572765d592b" providerId="AD" clId="Web-{C93D31B3-2B8C-DAAF-7090-3A2197BCB065}" dt="2023-10-27T20:25:18.004" v="5" actId="1076"/>
        <pc:sldMkLst>
          <pc:docMk/>
          <pc:sldMk cId="3726638559" sldId="616"/>
        </pc:sldMkLst>
        <pc:spChg chg="mod">
          <ac:chgData name="Eileen Fleming Suse" userId="S::efs3844@ads.northwestern.edu::725c94ef-d051-42d7-9d33-8572765d592b" providerId="AD" clId="Web-{C93D31B3-2B8C-DAAF-7090-3A2197BCB065}" dt="2023-10-27T20:25:18.004" v="5" actId="1076"/>
          <ac:spMkLst>
            <pc:docMk/>
            <pc:sldMk cId="3726638559" sldId="616"/>
            <ac:spMk id="2175" creationId="{00000000-0000-0000-0000-000000000000}"/>
          </ac:spMkLst>
        </pc:spChg>
      </pc:sldChg>
      <pc:sldChg chg="addSp modSp addAnim delAnim">
        <pc:chgData name="Eileen Fleming Suse" userId="S::efs3844@ads.northwestern.edu::725c94ef-d051-42d7-9d33-8572765d592b" providerId="AD" clId="Web-{C93D31B3-2B8C-DAAF-7090-3A2197BCB065}" dt="2023-10-27T20:31:31.278" v="42"/>
        <pc:sldMkLst>
          <pc:docMk/>
          <pc:sldMk cId="1210022179" sldId="617"/>
        </pc:sldMkLst>
        <pc:spChg chg="add mod">
          <ac:chgData name="Eileen Fleming Suse" userId="S::efs3844@ads.northwestern.edu::725c94ef-d051-42d7-9d33-8572765d592b" providerId="AD" clId="Web-{C93D31B3-2B8C-DAAF-7090-3A2197BCB065}" dt="2023-10-27T20:28:42.899" v="19" actId="14100"/>
          <ac:spMkLst>
            <pc:docMk/>
            <pc:sldMk cId="1210022179" sldId="617"/>
            <ac:spMk id="3" creationId="{58E28592-FDD2-A9FB-FF64-0D7E537442D4}"/>
          </ac:spMkLst>
        </pc:spChg>
        <pc:spChg chg="add mod">
          <ac:chgData name="Eileen Fleming Suse" userId="S::efs3844@ads.northwestern.edu::725c94ef-d051-42d7-9d33-8572765d592b" providerId="AD" clId="Web-{C93D31B3-2B8C-DAAF-7090-3A2197BCB065}" dt="2023-10-27T20:31:20.653" v="40" actId="20577"/>
          <ac:spMkLst>
            <pc:docMk/>
            <pc:sldMk cId="1210022179" sldId="617"/>
            <ac:spMk id="6" creationId="{602B4FC7-02B4-B308-F882-1F10636CBFF9}"/>
          </ac:spMkLst>
        </pc:spChg>
      </pc:sldChg>
      <pc:sldChg chg="del">
        <pc:chgData name="Eileen Fleming Suse" userId="S::efs3844@ads.northwestern.edu::725c94ef-d051-42d7-9d33-8572765d592b" providerId="AD" clId="Web-{C93D31B3-2B8C-DAAF-7090-3A2197BCB065}" dt="2023-10-27T20:29:09.806" v="23"/>
        <pc:sldMkLst>
          <pc:docMk/>
          <pc:sldMk cId="3431700372" sldId="618"/>
        </pc:sldMkLst>
      </pc:sldChg>
      <pc:sldChg chg="del">
        <pc:chgData name="Eileen Fleming Suse" userId="S::efs3844@ads.northwestern.edu::725c94ef-d051-42d7-9d33-8572765d592b" providerId="AD" clId="Web-{C93D31B3-2B8C-DAAF-7090-3A2197BCB065}" dt="2023-10-27T20:29:39.400" v="26"/>
        <pc:sldMkLst>
          <pc:docMk/>
          <pc:sldMk cId="923498403" sldId="619"/>
        </pc:sldMkLst>
      </pc:sldChg>
      <pc:sldChg chg="del">
        <pc:chgData name="Eileen Fleming Suse" userId="S::efs3844@ads.northwestern.edu::725c94ef-d051-42d7-9d33-8572765d592b" providerId="AD" clId="Web-{C93D31B3-2B8C-DAAF-7090-3A2197BCB065}" dt="2023-10-27T20:29:49.526" v="27"/>
        <pc:sldMkLst>
          <pc:docMk/>
          <pc:sldMk cId="3074345071" sldId="620"/>
        </pc:sldMkLst>
      </pc:sldChg>
      <pc:sldChg chg="ord addAnim">
        <pc:chgData name="Eileen Fleming Suse" userId="S::efs3844@ads.northwestern.edu::725c94ef-d051-42d7-9d33-8572765d592b" providerId="AD" clId="Web-{C93D31B3-2B8C-DAAF-7090-3A2197BCB065}" dt="2023-10-27T20:27:46.132" v="13"/>
        <pc:sldMkLst>
          <pc:docMk/>
          <pc:sldMk cId="3850125703" sldId="622"/>
        </pc:sldMkLst>
      </pc:sldChg>
      <pc:sldChg chg="addSp modSp add replId addAnim">
        <pc:chgData name="Eileen Fleming Suse" userId="S::efs3844@ads.northwestern.edu::725c94ef-d051-42d7-9d33-8572765d592b" providerId="AD" clId="Web-{C93D31B3-2B8C-DAAF-7090-3A2197BCB065}" dt="2023-10-27T20:32:10.872" v="46" actId="20577"/>
        <pc:sldMkLst>
          <pc:docMk/>
          <pc:sldMk cId="2561278274" sldId="630"/>
        </pc:sldMkLst>
        <pc:spChg chg="mod">
          <ac:chgData name="Eileen Fleming Suse" userId="S::efs3844@ads.northwestern.edu::725c94ef-d051-42d7-9d33-8572765d592b" providerId="AD" clId="Web-{C93D31B3-2B8C-DAAF-7090-3A2197BCB065}" dt="2023-10-27T20:29:06.103" v="22" actId="1076"/>
          <ac:spMkLst>
            <pc:docMk/>
            <pc:sldMk cId="2561278274" sldId="630"/>
            <ac:spMk id="3" creationId="{58E28592-FDD2-A9FB-FF64-0D7E537442D4}"/>
          </ac:spMkLst>
        </pc:spChg>
        <pc:spChg chg="add mod">
          <ac:chgData name="Eileen Fleming Suse" userId="S::efs3844@ads.northwestern.edu::725c94ef-d051-42d7-9d33-8572765d592b" providerId="AD" clId="Web-{C93D31B3-2B8C-DAAF-7090-3A2197BCB065}" dt="2023-10-27T20:32:10.872" v="46" actId="20577"/>
          <ac:spMkLst>
            <pc:docMk/>
            <pc:sldMk cId="2561278274" sldId="630"/>
            <ac:spMk id="7" creationId="{8496B0C4-3602-7272-3A32-22184B4B8223}"/>
          </ac:spMkLst>
        </pc:spChg>
      </pc:sldChg>
      <pc:sldChg chg="addSp modSp add replId addAnim delAnim">
        <pc:chgData name="Eileen Fleming Suse" userId="S::efs3844@ads.northwestern.edu::725c94ef-d051-42d7-9d33-8572765d592b" providerId="AD" clId="Web-{C93D31B3-2B8C-DAAF-7090-3A2197BCB065}" dt="2023-10-27T20:32:37.435" v="51"/>
        <pc:sldMkLst>
          <pc:docMk/>
          <pc:sldMk cId="488873692" sldId="631"/>
        </pc:sldMkLst>
        <pc:spChg chg="mod">
          <ac:chgData name="Eileen Fleming Suse" userId="S::efs3844@ads.northwestern.edu::725c94ef-d051-42d7-9d33-8572765d592b" providerId="AD" clId="Web-{C93D31B3-2B8C-DAAF-7090-3A2197BCB065}" dt="2023-10-27T20:29:32.728" v="25" actId="1076"/>
          <ac:spMkLst>
            <pc:docMk/>
            <pc:sldMk cId="488873692" sldId="631"/>
            <ac:spMk id="3" creationId="{58E28592-FDD2-A9FB-FF64-0D7E537442D4}"/>
          </ac:spMkLst>
        </pc:spChg>
        <pc:spChg chg="add mod">
          <ac:chgData name="Eileen Fleming Suse" userId="S::efs3844@ads.northwestern.edu::725c94ef-d051-42d7-9d33-8572765d592b" providerId="AD" clId="Web-{C93D31B3-2B8C-DAAF-7090-3A2197BCB065}" dt="2023-10-27T20:32:37.201" v="50" actId="20577"/>
          <ac:spMkLst>
            <pc:docMk/>
            <pc:sldMk cId="488873692" sldId="631"/>
            <ac:spMk id="7" creationId="{DFD5A0D1-51F6-710D-06A4-BD15D9E25C76}"/>
          </ac:spMkLst>
        </pc:spChg>
      </pc:sldChg>
      <pc:sldChg chg="addSp modSp add ord replId addAnim">
        <pc:chgData name="Eileen Fleming Suse" userId="S::efs3844@ads.northwestern.edu::725c94ef-d051-42d7-9d33-8572765d592b" providerId="AD" clId="Web-{C93D31B3-2B8C-DAAF-7090-3A2197BCB065}" dt="2023-10-27T20:32:48.670" v="54" actId="20577"/>
        <pc:sldMkLst>
          <pc:docMk/>
          <pc:sldMk cId="3115055849" sldId="632"/>
        </pc:sldMkLst>
        <pc:spChg chg="mod">
          <ac:chgData name="Eileen Fleming Suse" userId="S::efs3844@ads.northwestern.edu::725c94ef-d051-42d7-9d33-8572765d592b" providerId="AD" clId="Web-{C93D31B3-2B8C-DAAF-7090-3A2197BCB065}" dt="2023-10-27T20:30:07.417" v="30" actId="1076"/>
          <ac:spMkLst>
            <pc:docMk/>
            <pc:sldMk cId="3115055849" sldId="632"/>
            <ac:spMk id="3" creationId="{58E28592-FDD2-A9FB-FF64-0D7E537442D4}"/>
          </ac:spMkLst>
        </pc:spChg>
        <pc:spChg chg="add mod">
          <ac:chgData name="Eileen Fleming Suse" userId="S::efs3844@ads.northwestern.edu::725c94ef-d051-42d7-9d33-8572765d592b" providerId="AD" clId="Web-{C93D31B3-2B8C-DAAF-7090-3A2197BCB065}" dt="2023-10-27T20:32:48.670" v="54" actId="20577"/>
          <ac:spMkLst>
            <pc:docMk/>
            <pc:sldMk cId="3115055849" sldId="632"/>
            <ac:spMk id="7" creationId="{C2E32C2D-903E-520B-06DF-BD02CDACB918}"/>
          </ac:spMkLst>
        </pc:spChg>
      </pc:sldChg>
      <pc:sldChg chg="addSp modSp add replId addAnim">
        <pc:chgData name="Eileen Fleming Suse" userId="S::efs3844@ads.northwestern.edu::725c94ef-d051-42d7-9d33-8572765d592b" providerId="AD" clId="Web-{C93D31B3-2B8C-DAAF-7090-3A2197BCB065}" dt="2023-10-27T20:33:06.811" v="57" actId="20577"/>
        <pc:sldMkLst>
          <pc:docMk/>
          <pc:sldMk cId="3999708931" sldId="633"/>
        </pc:sldMkLst>
        <pc:spChg chg="mod">
          <ac:chgData name="Eileen Fleming Suse" userId="S::efs3844@ads.northwestern.edu::725c94ef-d051-42d7-9d33-8572765d592b" providerId="AD" clId="Web-{C93D31B3-2B8C-DAAF-7090-3A2197BCB065}" dt="2023-10-27T20:30:30.042" v="32" actId="1076"/>
          <ac:spMkLst>
            <pc:docMk/>
            <pc:sldMk cId="3999708931" sldId="633"/>
            <ac:spMk id="3" creationId="{58E28592-FDD2-A9FB-FF64-0D7E537442D4}"/>
          </ac:spMkLst>
        </pc:spChg>
        <pc:spChg chg="add mod">
          <ac:chgData name="Eileen Fleming Suse" userId="S::efs3844@ads.northwestern.edu::725c94ef-d051-42d7-9d33-8572765d592b" providerId="AD" clId="Web-{C93D31B3-2B8C-DAAF-7090-3A2197BCB065}" dt="2023-10-27T20:33:06.811" v="57" actId="20577"/>
          <ac:spMkLst>
            <pc:docMk/>
            <pc:sldMk cId="3999708931" sldId="633"/>
            <ac:spMk id="7" creationId="{32D43D21-12EB-57B8-92CD-FBCBE656C832}"/>
          </ac:spMkLst>
        </pc:spChg>
      </pc:sldChg>
    </pc:docChg>
  </pc:docChgLst>
  <pc:docChgLst>
    <pc:chgData name="Eileen Fleming Suse" userId="S::efs3844@ads.northwestern.edu::725c94ef-d051-42d7-9d33-8572765d592b" providerId="AD" clId="Web-{9DE0ADE9-A0A8-D2EA-1EF2-AD3C089DDA7A}"/>
    <pc:docChg chg="addSld delSld modSld addMainMaster">
      <pc:chgData name="Eileen Fleming Suse" userId="S::efs3844@ads.northwestern.edu::725c94ef-d051-42d7-9d33-8572765d592b" providerId="AD" clId="Web-{9DE0ADE9-A0A8-D2EA-1EF2-AD3C089DDA7A}" dt="2023-10-19T17:41:58.437" v="223"/>
      <pc:docMkLst>
        <pc:docMk/>
      </pc:docMkLst>
      <pc:sldChg chg="modSp">
        <pc:chgData name="Eileen Fleming Suse" userId="S::efs3844@ads.northwestern.edu::725c94ef-d051-42d7-9d33-8572765d592b" providerId="AD" clId="Web-{9DE0ADE9-A0A8-D2EA-1EF2-AD3C089DDA7A}" dt="2023-10-19T17:15:26.480" v="60" actId="20577"/>
        <pc:sldMkLst>
          <pc:docMk/>
          <pc:sldMk cId="3127921386" sldId="280"/>
        </pc:sldMkLst>
        <pc:spChg chg="mod">
          <ac:chgData name="Eileen Fleming Suse" userId="S::efs3844@ads.northwestern.edu::725c94ef-d051-42d7-9d33-8572765d592b" providerId="AD" clId="Web-{9DE0ADE9-A0A8-D2EA-1EF2-AD3C089DDA7A}" dt="2023-10-19T17:14:04.384" v="2" actId="20577"/>
          <ac:spMkLst>
            <pc:docMk/>
            <pc:sldMk cId="3127921386" sldId="280"/>
            <ac:spMk id="3" creationId="{1D742501-F937-8041-84E5-748F96AE991B}"/>
          </ac:spMkLst>
        </pc:spChg>
        <pc:spChg chg="mod">
          <ac:chgData name="Eileen Fleming Suse" userId="S::efs3844@ads.northwestern.edu::725c94ef-d051-42d7-9d33-8572765d592b" providerId="AD" clId="Web-{9DE0ADE9-A0A8-D2EA-1EF2-AD3C089DDA7A}" dt="2023-10-19T17:15:26.480" v="60" actId="20577"/>
          <ac:spMkLst>
            <pc:docMk/>
            <pc:sldMk cId="3127921386" sldId="280"/>
            <ac:spMk id="4" creationId="{19922563-64D6-2A4E-B048-13AC25DB45AD}"/>
          </ac:spMkLst>
        </pc:spChg>
      </pc:sldChg>
      <pc:sldChg chg="modSp">
        <pc:chgData name="Eileen Fleming Suse" userId="S::efs3844@ads.northwestern.edu::725c94ef-d051-42d7-9d33-8572765d592b" providerId="AD" clId="Web-{9DE0ADE9-A0A8-D2EA-1EF2-AD3C089DDA7A}" dt="2023-10-19T17:31:26.808" v="220" actId="20577"/>
        <pc:sldMkLst>
          <pc:docMk/>
          <pc:sldMk cId="4044691067" sldId="283"/>
        </pc:sldMkLst>
        <pc:spChg chg="mod">
          <ac:chgData name="Eileen Fleming Suse" userId="S::efs3844@ads.northwestern.edu::725c94ef-d051-42d7-9d33-8572765d592b" providerId="AD" clId="Web-{9DE0ADE9-A0A8-D2EA-1EF2-AD3C089DDA7A}" dt="2023-10-19T17:20:28.099" v="150" actId="20577"/>
          <ac:spMkLst>
            <pc:docMk/>
            <pc:sldMk cId="4044691067" sldId="283"/>
            <ac:spMk id="3" creationId="{00000000-0000-0000-0000-000000000000}"/>
          </ac:spMkLst>
        </pc:spChg>
        <pc:spChg chg="mod">
          <ac:chgData name="Eileen Fleming Suse" userId="S::efs3844@ads.northwestern.edu::725c94ef-d051-42d7-9d33-8572765d592b" providerId="AD" clId="Web-{9DE0ADE9-A0A8-D2EA-1EF2-AD3C089DDA7A}" dt="2023-10-19T17:31:26.808" v="220"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9DE0ADE9-A0A8-D2EA-1EF2-AD3C089DDA7A}" dt="2023-10-19T17:14:36.276" v="18"/>
        <pc:sldMkLst>
          <pc:docMk/>
          <pc:sldMk cId="2069350649" sldId="284"/>
        </pc:sldMkLst>
      </pc:sldChg>
      <pc:sldChg chg="del">
        <pc:chgData name="Eileen Fleming Suse" userId="S::efs3844@ads.northwestern.edu::725c94ef-d051-42d7-9d33-8572765d592b" providerId="AD" clId="Web-{9DE0ADE9-A0A8-D2EA-1EF2-AD3C089DDA7A}" dt="2023-10-19T17:14:43.713" v="23"/>
        <pc:sldMkLst>
          <pc:docMk/>
          <pc:sldMk cId="2092144123" sldId="285"/>
        </pc:sldMkLst>
      </pc:sldChg>
      <pc:sldChg chg="del">
        <pc:chgData name="Eileen Fleming Suse" userId="S::efs3844@ads.northwestern.edu::725c94ef-d051-42d7-9d33-8572765d592b" providerId="AD" clId="Web-{9DE0ADE9-A0A8-D2EA-1EF2-AD3C089DDA7A}" dt="2023-10-19T17:14:35.369" v="17"/>
        <pc:sldMkLst>
          <pc:docMk/>
          <pc:sldMk cId="1536630639" sldId="286"/>
        </pc:sldMkLst>
      </pc:sldChg>
      <pc:sldChg chg="del">
        <pc:chgData name="Eileen Fleming Suse" userId="S::efs3844@ads.northwestern.edu::725c94ef-d051-42d7-9d33-8572765d592b" providerId="AD" clId="Web-{9DE0ADE9-A0A8-D2EA-1EF2-AD3C089DDA7A}" dt="2023-10-19T17:14:37.760" v="19"/>
        <pc:sldMkLst>
          <pc:docMk/>
          <pc:sldMk cId="837706999" sldId="287"/>
        </pc:sldMkLst>
      </pc:sldChg>
      <pc:sldChg chg="del">
        <pc:chgData name="Eileen Fleming Suse" userId="S::efs3844@ads.northwestern.edu::725c94ef-d051-42d7-9d33-8572765d592b" providerId="AD" clId="Web-{9DE0ADE9-A0A8-D2EA-1EF2-AD3C089DDA7A}" dt="2023-10-19T17:14:38.151" v="20"/>
        <pc:sldMkLst>
          <pc:docMk/>
          <pc:sldMk cId="593652294" sldId="289"/>
        </pc:sldMkLst>
      </pc:sldChg>
      <pc:sldChg chg="del">
        <pc:chgData name="Eileen Fleming Suse" userId="S::efs3844@ads.northwestern.edu::725c94ef-d051-42d7-9d33-8572765d592b" providerId="AD" clId="Web-{9DE0ADE9-A0A8-D2EA-1EF2-AD3C089DDA7A}" dt="2023-10-19T17:14:24.494" v="5"/>
        <pc:sldMkLst>
          <pc:docMk/>
          <pc:sldMk cId="2453140522" sldId="291"/>
        </pc:sldMkLst>
      </pc:sldChg>
      <pc:sldChg chg="del">
        <pc:chgData name="Eileen Fleming Suse" userId="S::efs3844@ads.northwestern.edu::725c94ef-d051-42d7-9d33-8572765d592b" providerId="AD" clId="Web-{9DE0ADE9-A0A8-D2EA-1EF2-AD3C089DDA7A}" dt="2023-10-19T17:14:26.275" v="6"/>
        <pc:sldMkLst>
          <pc:docMk/>
          <pc:sldMk cId="1209325080" sldId="292"/>
        </pc:sldMkLst>
      </pc:sldChg>
      <pc:sldChg chg="del">
        <pc:chgData name="Eileen Fleming Suse" userId="S::efs3844@ads.northwestern.edu::725c94ef-d051-42d7-9d33-8572765d592b" providerId="AD" clId="Web-{9DE0ADE9-A0A8-D2EA-1EF2-AD3C089DDA7A}" dt="2023-10-19T17:14:42.213" v="22"/>
        <pc:sldMkLst>
          <pc:docMk/>
          <pc:sldMk cId="2487210000" sldId="294"/>
        </pc:sldMkLst>
      </pc:sldChg>
      <pc:sldChg chg="del">
        <pc:chgData name="Eileen Fleming Suse" userId="S::efs3844@ads.northwestern.edu::725c94ef-d051-42d7-9d33-8572765d592b" providerId="AD" clId="Web-{9DE0ADE9-A0A8-D2EA-1EF2-AD3C089DDA7A}" dt="2023-10-19T17:14:55.589" v="52"/>
        <pc:sldMkLst>
          <pc:docMk/>
          <pc:sldMk cId="2040509865" sldId="295"/>
        </pc:sldMkLst>
      </pc:sldChg>
      <pc:sldChg chg="del">
        <pc:chgData name="Eileen Fleming Suse" userId="S::efs3844@ads.northwestern.edu::725c94ef-d051-42d7-9d33-8572765d592b" providerId="AD" clId="Web-{9DE0ADE9-A0A8-D2EA-1EF2-AD3C089DDA7A}" dt="2023-10-19T17:14:55.417" v="35"/>
        <pc:sldMkLst>
          <pc:docMk/>
          <pc:sldMk cId="3613951002" sldId="299"/>
        </pc:sldMkLst>
      </pc:sldChg>
      <pc:sldChg chg="del">
        <pc:chgData name="Eileen Fleming Suse" userId="S::efs3844@ads.northwestern.edu::725c94ef-d051-42d7-9d33-8572765d592b" providerId="AD" clId="Web-{9DE0ADE9-A0A8-D2EA-1EF2-AD3C089DDA7A}" dt="2023-10-19T17:14:48.120" v="29"/>
        <pc:sldMkLst>
          <pc:docMk/>
          <pc:sldMk cId="426344767" sldId="300"/>
        </pc:sldMkLst>
      </pc:sldChg>
      <pc:sldChg chg="del">
        <pc:chgData name="Eileen Fleming Suse" userId="S::efs3844@ads.northwestern.edu::725c94ef-d051-42d7-9d33-8572765d592b" providerId="AD" clId="Web-{9DE0ADE9-A0A8-D2EA-1EF2-AD3C089DDA7A}" dt="2023-10-19T17:14:55.495" v="46"/>
        <pc:sldMkLst>
          <pc:docMk/>
          <pc:sldMk cId="1677014618" sldId="302"/>
        </pc:sldMkLst>
      </pc:sldChg>
      <pc:sldChg chg="del">
        <pc:chgData name="Eileen Fleming Suse" userId="S::efs3844@ads.northwestern.edu::725c94ef-d051-42d7-9d33-8572765d592b" providerId="AD" clId="Web-{9DE0ADE9-A0A8-D2EA-1EF2-AD3C089DDA7A}" dt="2023-10-19T17:14:55.526" v="48"/>
        <pc:sldMkLst>
          <pc:docMk/>
          <pc:sldMk cId="708289948" sldId="303"/>
        </pc:sldMkLst>
      </pc:sldChg>
      <pc:sldChg chg="del">
        <pc:chgData name="Eileen Fleming Suse" userId="S::efs3844@ads.northwestern.edu::725c94ef-d051-42d7-9d33-8572765d592b" providerId="AD" clId="Web-{9DE0ADE9-A0A8-D2EA-1EF2-AD3C089DDA7A}" dt="2023-10-19T17:14:55.511" v="47"/>
        <pc:sldMkLst>
          <pc:docMk/>
          <pc:sldMk cId="2653032575" sldId="304"/>
        </pc:sldMkLst>
      </pc:sldChg>
      <pc:sldChg chg="del">
        <pc:chgData name="Eileen Fleming Suse" userId="S::efs3844@ads.northwestern.edu::725c94ef-d051-42d7-9d33-8572765d592b" providerId="AD" clId="Web-{9DE0ADE9-A0A8-D2EA-1EF2-AD3C089DDA7A}" dt="2023-10-19T17:14:55.542" v="49"/>
        <pc:sldMkLst>
          <pc:docMk/>
          <pc:sldMk cId="1372958822" sldId="305"/>
        </pc:sldMkLst>
      </pc:sldChg>
      <pc:sldChg chg="del">
        <pc:chgData name="Eileen Fleming Suse" userId="S::efs3844@ads.northwestern.edu::725c94ef-d051-42d7-9d33-8572765d592b" providerId="AD" clId="Web-{9DE0ADE9-A0A8-D2EA-1EF2-AD3C089DDA7A}" dt="2023-10-19T17:14:55.479" v="45"/>
        <pc:sldMkLst>
          <pc:docMk/>
          <pc:sldMk cId="780409547" sldId="307"/>
        </pc:sldMkLst>
      </pc:sldChg>
      <pc:sldChg chg="del">
        <pc:chgData name="Eileen Fleming Suse" userId="S::efs3844@ads.northwestern.edu::725c94ef-d051-42d7-9d33-8572765d592b" providerId="AD" clId="Web-{9DE0ADE9-A0A8-D2EA-1EF2-AD3C089DDA7A}" dt="2023-10-19T17:14:55.589" v="53"/>
        <pc:sldMkLst>
          <pc:docMk/>
          <pc:sldMk cId="329125591" sldId="308"/>
        </pc:sldMkLst>
      </pc:sldChg>
      <pc:sldChg chg="del">
        <pc:chgData name="Eileen Fleming Suse" userId="S::efs3844@ads.northwestern.edu::725c94ef-d051-42d7-9d33-8572765d592b" providerId="AD" clId="Web-{9DE0ADE9-A0A8-D2EA-1EF2-AD3C089DDA7A}" dt="2023-10-19T17:14:44.213" v="24"/>
        <pc:sldMkLst>
          <pc:docMk/>
          <pc:sldMk cId="2033640025" sldId="309"/>
        </pc:sldMkLst>
      </pc:sldChg>
      <pc:sldChg chg="del">
        <pc:chgData name="Eileen Fleming Suse" userId="S::efs3844@ads.northwestern.edu::725c94ef-d051-42d7-9d33-8572765d592b" providerId="AD" clId="Web-{9DE0ADE9-A0A8-D2EA-1EF2-AD3C089DDA7A}" dt="2023-10-19T17:14:45.901" v="26"/>
        <pc:sldMkLst>
          <pc:docMk/>
          <pc:sldMk cId="1888859321" sldId="310"/>
        </pc:sldMkLst>
      </pc:sldChg>
      <pc:sldChg chg="del">
        <pc:chgData name="Eileen Fleming Suse" userId="S::efs3844@ads.northwestern.edu::725c94ef-d051-42d7-9d33-8572765d592b" providerId="AD" clId="Web-{9DE0ADE9-A0A8-D2EA-1EF2-AD3C089DDA7A}" dt="2023-10-19T17:14:46.573" v="27"/>
        <pc:sldMkLst>
          <pc:docMk/>
          <pc:sldMk cId="2782366363" sldId="311"/>
        </pc:sldMkLst>
      </pc:sldChg>
      <pc:sldChg chg="del">
        <pc:chgData name="Eileen Fleming Suse" userId="S::efs3844@ads.northwestern.edu::725c94ef-d051-42d7-9d33-8572765d592b" providerId="AD" clId="Web-{9DE0ADE9-A0A8-D2EA-1EF2-AD3C089DDA7A}" dt="2023-10-19T17:14:47.167" v="28"/>
        <pc:sldMkLst>
          <pc:docMk/>
          <pc:sldMk cId="1780623164" sldId="312"/>
        </pc:sldMkLst>
      </pc:sldChg>
      <pc:sldChg chg="del">
        <pc:chgData name="Eileen Fleming Suse" userId="S::efs3844@ads.northwestern.edu::725c94ef-d051-42d7-9d33-8572765d592b" providerId="AD" clId="Web-{9DE0ADE9-A0A8-D2EA-1EF2-AD3C089DDA7A}" dt="2023-10-19T17:14:48.479" v="30"/>
        <pc:sldMkLst>
          <pc:docMk/>
          <pc:sldMk cId="1724020679" sldId="313"/>
        </pc:sldMkLst>
      </pc:sldChg>
      <pc:sldChg chg="del">
        <pc:chgData name="Eileen Fleming Suse" userId="S::efs3844@ads.northwestern.edu::725c94ef-d051-42d7-9d33-8572765d592b" providerId="AD" clId="Web-{9DE0ADE9-A0A8-D2EA-1EF2-AD3C089DDA7A}" dt="2023-10-19T17:14:49.104" v="31"/>
        <pc:sldMkLst>
          <pc:docMk/>
          <pc:sldMk cId="201651367" sldId="314"/>
        </pc:sldMkLst>
      </pc:sldChg>
      <pc:sldChg chg="del">
        <pc:chgData name="Eileen Fleming Suse" userId="S::efs3844@ads.northwestern.edu::725c94ef-d051-42d7-9d33-8572765d592b" providerId="AD" clId="Web-{9DE0ADE9-A0A8-D2EA-1EF2-AD3C089DDA7A}" dt="2023-10-19T17:14:55.589" v="55"/>
        <pc:sldMkLst>
          <pc:docMk/>
          <pc:sldMk cId="1008592618" sldId="315"/>
        </pc:sldMkLst>
      </pc:sldChg>
      <pc:sldChg chg="del">
        <pc:chgData name="Eileen Fleming Suse" userId="S::efs3844@ads.northwestern.edu::725c94ef-d051-42d7-9d33-8572765d592b" providerId="AD" clId="Web-{9DE0ADE9-A0A8-D2EA-1EF2-AD3C089DDA7A}" dt="2023-10-19T17:14:55.432" v="38"/>
        <pc:sldMkLst>
          <pc:docMk/>
          <pc:sldMk cId="1410612689" sldId="316"/>
        </pc:sldMkLst>
      </pc:sldChg>
      <pc:sldChg chg="del">
        <pc:chgData name="Eileen Fleming Suse" userId="S::efs3844@ads.northwestern.edu::725c94ef-d051-42d7-9d33-8572765d592b" providerId="AD" clId="Web-{9DE0ADE9-A0A8-D2EA-1EF2-AD3C089DDA7A}" dt="2023-10-19T17:14:55.589" v="54"/>
        <pc:sldMkLst>
          <pc:docMk/>
          <pc:sldMk cId="3358066547" sldId="317"/>
        </pc:sldMkLst>
      </pc:sldChg>
      <pc:sldChg chg="del">
        <pc:chgData name="Eileen Fleming Suse" userId="S::efs3844@ads.northwestern.edu::725c94ef-d051-42d7-9d33-8572765d592b" providerId="AD" clId="Web-{9DE0ADE9-A0A8-D2EA-1EF2-AD3C089DDA7A}" dt="2023-10-19T17:14:55.464" v="41"/>
        <pc:sldMkLst>
          <pc:docMk/>
          <pc:sldMk cId="749448274" sldId="318"/>
        </pc:sldMkLst>
      </pc:sldChg>
      <pc:sldChg chg="del">
        <pc:chgData name="Eileen Fleming Suse" userId="S::efs3844@ads.northwestern.edu::725c94ef-d051-42d7-9d33-8572765d592b" providerId="AD" clId="Web-{9DE0ADE9-A0A8-D2EA-1EF2-AD3C089DDA7A}" dt="2023-10-19T17:14:55.417" v="33"/>
        <pc:sldMkLst>
          <pc:docMk/>
          <pc:sldMk cId="2641713020" sldId="325"/>
        </pc:sldMkLst>
      </pc:sldChg>
      <pc:sldChg chg="del">
        <pc:chgData name="Eileen Fleming Suse" userId="S::efs3844@ads.northwestern.edu::725c94ef-d051-42d7-9d33-8572765d592b" providerId="AD" clId="Web-{9DE0ADE9-A0A8-D2EA-1EF2-AD3C089DDA7A}" dt="2023-10-19T17:14:28.307" v="7"/>
        <pc:sldMkLst>
          <pc:docMk/>
          <pc:sldMk cId="730283329" sldId="327"/>
        </pc:sldMkLst>
      </pc:sldChg>
      <pc:sldChg chg="del">
        <pc:chgData name="Eileen Fleming Suse" userId="S::efs3844@ads.northwestern.edu::725c94ef-d051-42d7-9d33-8572765d592b" providerId="AD" clId="Web-{9DE0ADE9-A0A8-D2EA-1EF2-AD3C089DDA7A}" dt="2023-10-19T17:14:55.464" v="43"/>
        <pc:sldMkLst>
          <pc:docMk/>
          <pc:sldMk cId="3398525892" sldId="328"/>
        </pc:sldMkLst>
      </pc:sldChg>
      <pc:sldChg chg="del">
        <pc:chgData name="Eileen Fleming Suse" userId="S::efs3844@ads.northwestern.edu::725c94ef-d051-42d7-9d33-8572765d592b" providerId="AD" clId="Web-{9DE0ADE9-A0A8-D2EA-1EF2-AD3C089DDA7A}" dt="2023-10-19T17:14:55.448" v="39"/>
        <pc:sldMkLst>
          <pc:docMk/>
          <pc:sldMk cId="1461223329" sldId="331"/>
        </pc:sldMkLst>
      </pc:sldChg>
      <pc:sldChg chg="del">
        <pc:chgData name="Eileen Fleming Suse" userId="S::efs3844@ads.northwestern.edu::725c94ef-d051-42d7-9d33-8572765d592b" providerId="AD" clId="Web-{9DE0ADE9-A0A8-D2EA-1EF2-AD3C089DDA7A}" dt="2023-10-19T17:14:29.853" v="9"/>
        <pc:sldMkLst>
          <pc:docMk/>
          <pc:sldMk cId="3139445884" sldId="332"/>
        </pc:sldMkLst>
      </pc:sldChg>
      <pc:sldChg chg="del">
        <pc:chgData name="Eileen Fleming Suse" userId="S::efs3844@ads.northwestern.edu::725c94ef-d051-42d7-9d33-8572765d592b" providerId="AD" clId="Web-{9DE0ADE9-A0A8-D2EA-1EF2-AD3C089DDA7A}" dt="2023-10-19T17:14:30.604" v="10"/>
        <pc:sldMkLst>
          <pc:docMk/>
          <pc:sldMk cId="633263341" sldId="333"/>
        </pc:sldMkLst>
      </pc:sldChg>
      <pc:sldChg chg="del">
        <pc:chgData name="Eileen Fleming Suse" userId="S::efs3844@ads.northwestern.edu::725c94ef-d051-42d7-9d33-8572765d592b" providerId="AD" clId="Web-{9DE0ADE9-A0A8-D2EA-1EF2-AD3C089DDA7A}" dt="2023-10-19T17:14:30.619" v="11"/>
        <pc:sldMkLst>
          <pc:docMk/>
          <pc:sldMk cId="609043565" sldId="334"/>
        </pc:sldMkLst>
      </pc:sldChg>
      <pc:sldChg chg="del">
        <pc:chgData name="Eileen Fleming Suse" userId="S::efs3844@ads.northwestern.edu::725c94ef-d051-42d7-9d33-8572765d592b" providerId="AD" clId="Web-{9DE0ADE9-A0A8-D2EA-1EF2-AD3C089DDA7A}" dt="2023-10-19T17:14:30.791" v="12"/>
        <pc:sldMkLst>
          <pc:docMk/>
          <pc:sldMk cId="3127513769" sldId="335"/>
        </pc:sldMkLst>
      </pc:sldChg>
      <pc:sldChg chg="del">
        <pc:chgData name="Eileen Fleming Suse" userId="S::efs3844@ads.northwestern.edu::725c94ef-d051-42d7-9d33-8572765d592b" providerId="AD" clId="Web-{9DE0ADE9-A0A8-D2EA-1EF2-AD3C089DDA7A}" dt="2023-10-19T17:13:45.415" v="0"/>
        <pc:sldMkLst>
          <pc:docMk/>
          <pc:sldMk cId="2155738570" sldId="336"/>
        </pc:sldMkLst>
      </pc:sldChg>
      <pc:sldChg chg="del">
        <pc:chgData name="Eileen Fleming Suse" userId="S::efs3844@ads.northwestern.edu::725c94ef-d051-42d7-9d33-8572765d592b" providerId="AD" clId="Web-{9DE0ADE9-A0A8-D2EA-1EF2-AD3C089DDA7A}" dt="2023-10-19T17:14:29.166" v="8"/>
        <pc:sldMkLst>
          <pc:docMk/>
          <pc:sldMk cId="3482793899" sldId="337"/>
        </pc:sldMkLst>
      </pc:sldChg>
      <pc:sldChg chg="del">
        <pc:chgData name="Eileen Fleming Suse" userId="S::efs3844@ads.northwestern.edu::725c94ef-d051-42d7-9d33-8572765d592b" providerId="AD" clId="Web-{9DE0ADE9-A0A8-D2EA-1EF2-AD3C089DDA7A}" dt="2023-10-19T17:14:55.417" v="37"/>
        <pc:sldMkLst>
          <pc:docMk/>
          <pc:sldMk cId="2871307081" sldId="338"/>
        </pc:sldMkLst>
      </pc:sldChg>
      <pc:sldChg chg="del">
        <pc:chgData name="Eileen Fleming Suse" userId="S::efs3844@ads.northwestern.edu::725c94ef-d051-42d7-9d33-8572765d592b" providerId="AD" clId="Web-{9DE0ADE9-A0A8-D2EA-1EF2-AD3C089DDA7A}" dt="2023-10-19T17:14:32.510" v="14"/>
        <pc:sldMkLst>
          <pc:docMk/>
          <pc:sldMk cId="2459589232" sldId="341"/>
        </pc:sldMkLst>
      </pc:sldChg>
      <pc:sldChg chg="del">
        <pc:chgData name="Eileen Fleming Suse" userId="S::efs3844@ads.northwestern.edu::725c94ef-d051-42d7-9d33-8572765d592b" providerId="AD" clId="Web-{9DE0ADE9-A0A8-D2EA-1EF2-AD3C089DDA7A}" dt="2023-10-19T17:14:45.088" v="25"/>
        <pc:sldMkLst>
          <pc:docMk/>
          <pc:sldMk cId="52189943" sldId="343"/>
        </pc:sldMkLst>
      </pc:sldChg>
      <pc:sldChg chg="del">
        <pc:chgData name="Eileen Fleming Suse" userId="S::efs3844@ads.northwestern.edu::725c94ef-d051-42d7-9d33-8572765d592b" providerId="AD" clId="Web-{9DE0ADE9-A0A8-D2EA-1EF2-AD3C089DDA7A}" dt="2023-10-19T17:14:19.447" v="3"/>
        <pc:sldMkLst>
          <pc:docMk/>
          <pc:sldMk cId="1572642716" sldId="344"/>
        </pc:sldMkLst>
      </pc:sldChg>
      <pc:sldChg chg="del">
        <pc:chgData name="Eileen Fleming Suse" userId="S::efs3844@ads.northwestern.edu::725c94ef-d051-42d7-9d33-8572765d592b" providerId="AD" clId="Web-{9DE0ADE9-A0A8-D2EA-1EF2-AD3C089DDA7A}" dt="2023-10-19T17:14:21.775" v="4"/>
        <pc:sldMkLst>
          <pc:docMk/>
          <pc:sldMk cId="2965993848" sldId="345"/>
        </pc:sldMkLst>
      </pc:sldChg>
      <pc:sldChg chg="del">
        <pc:chgData name="Eileen Fleming Suse" userId="S::efs3844@ads.northwestern.edu::725c94ef-d051-42d7-9d33-8572765d592b" providerId="AD" clId="Web-{9DE0ADE9-A0A8-D2EA-1EF2-AD3C089DDA7A}" dt="2023-10-19T17:14:55.542" v="50"/>
        <pc:sldMkLst>
          <pc:docMk/>
          <pc:sldMk cId="388018185" sldId="346"/>
        </pc:sldMkLst>
      </pc:sldChg>
      <pc:sldChg chg="del">
        <pc:chgData name="Eileen Fleming Suse" userId="S::efs3844@ads.northwestern.edu::725c94ef-d051-42d7-9d33-8572765d592b" providerId="AD" clId="Web-{9DE0ADE9-A0A8-D2EA-1EF2-AD3C089DDA7A}" dt="2023-10-19T17:14:55.464" v="44"/>
        <pc:sldMkLst>
          <pc:docMk/>
          <pc:sldMk cId="4266118864" sldId="347"/>
        </pc:sldMkLst>
      </pc:sldChg>
      <pc:sldChg chg="del">
        <pc:chgData name="Eileen Fleming Suse" userId="S::efs3844@ads.northwestern.edu::725c94ef-d051-42d7-9d33-8572765d592b" providerId="AD" clId="Web-{9DE0ADE9-A0A8-D2EA-1EF2-AD3C089DDA7A}" dt="2023-10-19T17:14:55.464" v="42"/>
        <pc:sldMkLst>
          <pc:docMk/>
          <pc:sldMk cId="1250040188" sldId="348"/>
        </pc:sldMkLst>
      </pc:sldChg>
      <pc:sldChg chg="del">
        <pc:chgData name="Eileen Fleming Suse" userId="S::efs3844@ads.northwestern.edu::725c94ef-d051-42d7-9d33-8572765d592b" providerId="AD" clId="Web-{9DE0ADE9-A0A8-D2EA-1EF2-AD3C089DDA7A}" dt="2023-10-19T17:14:55.464" v="40"/>
        <pc:sldMkLst>
          <pc:docMk/>
          <pc:sldMk cId="3133961592" sldId="352"/>
        </pc:sldMkLst>
      </pc:sldChg>
      <pc:sldChg chg="del">
        <pc:chgData name="Eileen Fleming Suse" userId="S::efs3844@ads.northwestern.edu::725c94ef-d051-42d7-9d33-8572765d592b" providerId="AD" clId="Web-{9DE0ADE9-A0A8-D2EA-1EF2-AD3C089DDA7A}" dt="2023-10-19T17:20:30.896" v="151"/>
        <pc:sldMkLst>
          <pc:docMk/>
          <pc:sldMk cId="330467900" sldId="353"/>
        </pc:sldMkLst>
      </pc:sldChg>
      <pc:sldChg chg="del">
        <pc:chgData name="Eileen Fleming Suse" userId="S::efs3844@ads.northwestern.edu::725c94ef-d051-42d7-9d33-8572765d592b" providerId="AD" clId="Web-{9DE0ADE9-A0A8-D2EA-1EF2-AD3C089DDA7A}" dt="2023-10-19T17:14:33.525" v="15"/>
        <pc:sldMkLst>
          <pc:docMk/>
          <pc:sldMk cId="699425124" sldId="354"/>
        </pc:sldMkLst>
      </pc:sldChg>
      <pc:sldChg chg="del">
        <pc:chgData name="Eileen Fleming Suse" userId="S::efs3844@ads.northwestern.edu::725c94ef-d051-42d7-9d33-8572765d592b" providerId="AD" clId="Web-{9DE0ADE9-A0A8-D2EA-1EF2-AD3C089DDA7A}" dt="2023-10-19T17:14:34.307" v="16"/>
        <pc:sldMkLst>
          <pc:docMk/>
          <pc:sldMk cId="4105287340" sldId="463"/>
        </pc:sldMkLst>
      </pc:sldChg>
      <pc:sldChg chg="del">
        <pc:chgData name="Eileen Fleming Suse" userId="S::efs3844@ads.northwestern.edu::725c94ef-d051-42d7-9d33-8572765d592b" providerId="AD" clId="Web-{9DE0ADE9-A0A8-D2EA-1EF2-AD3C089DDA7A}" dt="2023-10-19T17:14:38.463" v="21"/>
        <pc:sldMkLst>
          <pc:docMk/>
          <pc:sldMk cId="1189510057" sldId="464"/>
        </pc:sldMkLst>
      </pc:sldChg>
      <pc:sldChg chg="del">
        <pc:chgData name="Eileen Fleming Suse" userId="S::efs3844@ads.northwestern.edu::725c94ef-d051-42d7-9d33-8572765d592b" providerId="AD" clId="Web-{9DE0ADE9-A0A8-D2EA-1EF2-AD3C089DDA7A}" dt="2023-10-19T17:20:33.303" v="152"/>
        <pc:sldMkLst>
          <pc:docMk/>
          <pc:sldMk cId="343871943" sldId="465"/>
        </pc:sldMkLst>
      </pc:sldChg>
      <pc:sldChg chg="del">
        <pc:chgData name="Eileen Fleming Suse" userId="S::efs3844@ads.northwestern.edu::725c94ef-d051-42d7-9d33-8572765d592b" providerId="AD" clId="Web-{9DE0ADE9-A0A8-D2EA-1EF2-AD3C089DDA7A}" dt="2023-10-19T17:14:31.541" v="13"/>
        <pc:sldMkLst>
          <pc:docMk/>
          <pc:sldMk cId="3919580005" sldId="524"/>
        </pc:sldMkLst>
      </pc:sldChg>
      <pc:sldChg chg="del">
        <pc:chgData name="Eileen Fleming Suse" userId="S::efs3844@ads.northwestern.edu::725c94ef-d051-42d7-9d33-8572765d592b" providerId="AD" clId="Web-{9DE0ADE9-A0A8-D2EA-1EF2-AD3C089DDA7A}" dt="2023-10-19T17:14:55.573" v="51"/>
        <pc:sldMkLst>
          <pc:docMk/>
          <pc:sldMk cId="2681042564" sldId="539"/>
        </pc:sldMkLst>
      </pc:sldChg>
      <pc:sldChg chg="del">
        <pc:chgData name="Eileen Fleming Suse" userId="S::efs3844@ads.northwestern.edu::725c94ef-d051-42d7-9d33-8572765d592b" providerId="AD" clId="Web-{9DE0ADE9-A0A8-D2EA-1EF2-AD3C089DDA7A}" dt="2023-10-19T17:14:49.120" v="32"/>
        <pc:sldMkLst>
          <pc:docMk/>
          <pc:sldMk cId="135391450" sldId="540"/>
        </pc:sldMkLst>
      </pc:sldChg>
      <pc:sldChg chg="del">
        <pc:chgData name="Eileen Fleming Suse" userId="S::efs3844@ads.northwestern.edu::725c94ef-d051-42d7-9d33-8572765d592b" providerId="AD" clId="Web-{9DE0ADE9-A0A8-D2EA-1EF2-AD3C089DDA7A}" dt="2023-10-19T17:14:55.417" v="36"/>
        <pc:sldMkLst>
          <pc:docMk/>
          <pc:sldMk cId="4191297091" sldId="541"/>
        </pc:sldMkLst>
      </pc:sldChg>
      <pc:sldChg chg="del">
        <pc:chgData name="Eileen Fleming Suse" userId="S::efs3844@ads.northwestern.edu::725c94ef-d051-42d7-9d33-8572765d592b" providerId="AD" clId="Web-{9DE0ADE9-A0A8-D2EA-1EF2-AD3C089DDA7A}" dt="2023-10-19T17:14:55.417" v="34"/>
        <pc:sldMkLst>
          <pc:docMk/>
          <pc:sldMk cId="2724813039" sldId="542"/>
        </pc:sldMkLst>
      </pc:sldChg>
      <pc:sldChg chg="del">
        <pc:chgData name="Eileen Fleming Suse" userId="S::efs3844@ads.northwestern.edu::725c94ef-d051-42d7-9d33-8572765d592b" providerId="AD" clId="Web-{9DE0ADE9-A0A8-D2EA-1EF2-AD3C089DDA7A}" dt="2023-10-19T17:22:12.181" v="194"/>
        <pc:sldMkLst>
          <pc:docMk/>
          <pc:sldMk cId="2874996303" sldId="543"/>
        </pc:sldMkLst>
      </pc:sldChg>
      <pc:sldChg chg="modSp new">
        <pc:chgData name="Eileen Fleming Suse" userId="S::efs3844@ads.northwestern.edu::725c94ef-d051-42d7-9d33-8572765d592b" providerId="AD" clId="Web-{9DE0ADE9-A0A8-D2EA-1EF2-AD3C089DDA7A}" dt="2023-10-19T17:20:46.975" v="157" actId="20577"/>
        <pc:sldMkLst>
          <pc:docMk/>
          <pc:sldMk cId="2351229145" sldId="544"/>
        </pc:sldMkLst>
        <pc:spChg chg="mod">
          <ac:chgData name="Eileen Fleming Suse" userId="S::efs3844@ads.northwestern.edu::725c94ef-d051-42d7-9d33-8572765d592b" providerId="AD" clId="Web-{9DE0ADE9-A0A8-D2EA-1EF2-AD3C089DDA7A}" dt="2023-10-19T17:20:46.975" v="157" actId="20577"/>
          <ac:spMkLst>
            <pc:docMk/>
            <pc:sldMk cId="2351229145" sldId="544"/>
            <ac:spMk id="2" creationId="{545C7D6E-31BC-C716-C845-E52002A3A9B8}"/>
          </ac:spMkLst>
        </pc:spChg>
      </pc:sldChg>
      <pc:sldChg chg="modSp new">
        <pc:chgData name="Eileen Fleming Suse" userId="S::efs3844@ads.northwestern.edu::725c94ef-d051-42d7-9d33-8572765d592b" providerId="AD" clId="Web-{9DE0ADE9-A0A8-D2EA-1EF2-AD3C089DDA7A}" dt="2023-10-19T17:31:31.308" v="221" actId="20577"/>
        <pc:sldMkLst>
          <pc:docMk/>
          <pc:sldMk cId="3635595752" sldId="545"/>
        </pc:sldMkLst>
        <pc:spChg chg="mod">
          <ac:chgData name="Eileen Fleming Suse" userId="S::efs3844@ads.northwestern.edu::725c94ef-d051-42d7-9d33-8572765d592b" providerId="AD" clId="Web-{9DE0ADE9-A0A8-D2EA-1EF2-AD3C089DDA7A}" dt="2023-10-19T17:31:31.308" v="221" actId="20577"/>
          <ac:spMkLst>
            <pc:docMk/>
            <pc:sldMk cId="3635595752" sldId="545"/>
            <ac:spMk id="2" creationId="{39AAB3FF-760A-B654-5F1B-78AD5BEB6B57}"/>
          </ac:spMkLst>
        </pc:spChg>
      </pc:sldChg>
      <pc:sldChg chg="modSp new">
        <pc:chgData name="Eileen Fleming Suse" userId="S::efs3844@ads.northwestern.edu::725c94ef-d051-42d7-9d33-8572765d592b" providerId="AD" clId="Web-{9DE0ADE9-A0A8-D2EA-1EF2-AD3C089DDA7A}" dt="2023-10-19T17:21:35.383" v="174" actId="20577"/>
        <pc:sldMkLst>
          <pc:docMk/>
          <pc:sldMk cId="1036043289" sldId="546"/>
        </pc:sldMkLst>
        <pc:spChg chg="mod">
          <ac:chgData name="Eileen Fleming Suse" userId="S::efs3844@ads.northwestern.edu::725c94ef-d051-42d7-9d33-8572765d592b" providerId="AD" clId="Web-{9DE0ADE9-A0A8-D2EA-1EF2-AD3C089DDA7A}" dt="2023-10-19T17:21:35.383" v="174" actId="20577"/>
          <ac:spMkLst>
            <pc:docMk/>
            <pc:sldMk cId="1036043289" sldId="546"/>
            <ac:spMk id="2" creationId="{67E16CF5-47C8-BEAD-25F8-81514DC0AF8B}"/>
          </ac:spMkLst>
        </pc:spChg>
      </pc:sldChg>
      <pc:sldChg chg="modSp new">
        <pc:chgData name="Eileen Fleming Suse" userId="S::efs3844@ads.northwestern.edu::725c94ef-d051-42d7-9d33-8572765d592b" providerId="AD" clId="Web-{9DE0ADE9-A0A8-D2EA-1EF2-AD3C089DDA7A}" dt="2023-10-19T17:21:45.039" v="180" actId="20577"/>
        <pc:sldMkLst>
          <pc:docMk/>
          <pc:sldMk cId="4024842338" sldId="547"/>
        </pc:sldMkLst>
        <pc:spChg chg="mod">
          <ac:chgData name="Eileen Fleming Suse" userId="S::efs3844@ads.northwestern.edu::725c94ef-d051-42d7-9d33-8572765d592b" providerId="AD" clId="Web-{9DE0ADE9-A0A8-D2EA-1EF2-AD3C089DDA7A}" dt="2023-10-19T17:21:45.039" v="180" actId="20577"/>
          <ac:spMkLst>
            <pc:docMk/>
            <pc:sldMk cId="4024842338" sldId="547"/>
            <ac:spMk id="2" creationId="{D3E8E3F8-686B-F051-66F8-5F0BEC66ED61}"/>
          </ac:spMkLst>
        </pc:spChg>
      </pc:sldChg>
      <pc:sldChg chg="modSp new">
        <pc:chgData name="Eileen Fleming Suse" userId="S::efs3844@ads.northwestern.edu::725c94ef-d051-42d7-9d33-8572765d592b" providerId="AD" clId="Web-{9DE0ADE9-A0A8-D2EA-1EF2-AD3C089DDA7A}" dt="2023-10-19T17:21:59.868" v="193" actId="20577"/>
        <pc:sldMkLst>
          <pc:docMk/>
          <pc:sldMk cId="3745706804" sldId="548"/>
        </pc:sldMkLst>
        <pc:spChg chg="mod">
          <ac:chgData name="Eileen Fleming Suse" userId="S::efs3844@ads.northwestern.edu::725c94ef-d051-42d7-9d33-8572765d592b" providerId="AD" clId="Web-{9DE0ADE9-A0A8-D2EA-1EF2-AD3C089DDA7A}" dt="2023-10-19T17:21:59.868" v="193" actId="20577"/>
          <ac:spMkLst>
            <pc:docMk/>
            <pc:sldMk cId="3745706804" sldId="548"/>
            <ac:spMk id="2" creationId="{C2B429CC-FC8C-ECA7-15C8-7563C27BFB95}"/>
          </ac:spMkLst>
        </pc:spChg>
      </pc:sldChg>
      <pc:sldChg chg="modSp new">
        <pc:chgData name="Eileen Fleming Suse" userId="S::efs3844@ads.northwestern.edu::725c94ef-d051-42d7-9d33-8572765d592b" providerId="AD" clId="Web-{9DE0ADE9-A0A8-D2EA-1EF2-AD3C089DDA7A}" dt="2023-10-19T17:22:57.260" v="218" actId="20577"/>
        <pc:sldMkLst>
          <pc:docMk/>
          <pc:sldMk cId="3962270618" sldId="549"/>
        </pc:sldMkLst>
        <pc:spChg chg="mod">
          <ac:chgData name="Eileen Fleming Suse" userId="S::efs3844@ads.northwestern.edu::725c94ef-d051-42d7-9d33-8572765d592b" providerId="AD" clId="Web-{9DE0ADE9-A0A8-D2EA-1EF2-AD3C089DDA7A}" dt="2023-10-19T17:22:57.260" v="218" actId="20577"/>
          <ac:spMkLst>
            <pc:docMk/>
            <pc:sldMk cId="3962270618" sldId="549"/>
            <ac:spMk id="2" creationId="{D2A51686-B2DC-CDBE-63AE-C97B6B0DBD66}"/>
          </ac:spMkLst>
        </pc:spChg>
      </pc:sldChg>
      <pc:sldChg chg="add">
        <pc:chgData name="Eileen Fleming Suse" userId="S::efs3844@ads.northwestern.edu::725c94ef-d051-42d7-9d33-8572765d592b" providerId="AD" clId="Web-{9DE0ADE9-A0A8-D2EA-1EF2-AD3C089DDA7A}" dt="2023-10-19T17:41:57.671" v="222"/>
        <pc:sldMkLst>
          <pc:docMk/>
          <pc:sldMk cId="3472964082" sldId="550"/>
        </pc:sldMkLst>
      </pc:sldChg>
      <pc:sldChg chg="add">
        <pc:chgData name="Eileen Fleming Suse" userId="S::efs3844@ads.northwestern.edu::725c94ef-d051-42d7-9d33-8572765d592b" providerId="AD" clId="Web-{9DE0ADE9-A0A8-D2EA-1EF2-AD3C089DDA7A}" dt="2023-10-19T17:41:58.437" v="223"/>
        <pc:sldMkLst>
          <pc:docMk/>
          <pc:sldMk cId="2562283095" sldId="551"/>
        </pc:sldMkLst>
      </pc:sldChg>
      <pc:sldMasterChg chg="add addSldLayout">
        <pc:chgData name="Eileen Fleming Suse" userId="S::efs3844@ads.northwestern.edu::725c94ef-d051-42d7-9d33-8572765d592b" providerId="AD" clId="Web-{9DE0ADE9-A0A8-D2EA-1EF2-AD3C089DDA7A}" dt="2023-10-19T17:41:57.671" v="222"/>
        <pc:sldMasterMkLst>
          <pc:docMk/>
          <pc:sldMasterMk cId="0" sldId="2147483648"/>
        </pc:sldMasterMkLst>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49"/>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0"/>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1"/>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2"/>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3"/>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4"/>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5"/>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6"/>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7"/>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8"/>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9"/>
          </pc:sldLayoutMkLst>
        </pc:sldLayoutChg>
      </pc:sldMasterChg>
    </pc:docChg>
  </pc:docChgLst>
  <pc:docChgLst>
    <pc:chgData name="Eileen Fleming Suse" userId="S::efs3844@ads.northwestern.edu::725c94ef-d051-42d7-9d33-8572765d592b" providerId="AD" clId="Web-{C766F19B-0830-AB8B-3618-23EF0AC64A24}"/>
    <pc:docChg chg="modSld">
      <pc:chgData name="Eileen Fleming Suse" userId="S::efs3844@ads.northwestern.edu::725c94ef-d051-42d7-9d33-8572765d592b" providerId="AD" clId="Web-{C766F19B-0830-AB8B-3618-23EF0AC64A24}" dt="2023-10-30T15:49:33.394" v="37"/>
      <pc:docMkLst>
        <pc:docMk/>
      </pc:docMkLst>
      <pc:sldChg chg="addSp delSp modSp">
        <pc:chgData name="Eileen Fleming Suse" userId="S::efs3844@ads.northwestern.edu::725c94ef-d051-42d7-9d33-8572765d592b" providerId="AD" clId="Web-{C766F19B-0830-AB8B-3618-23EF0AC64A24}" dt="2023-10-30T15:49:33.394" v="37"/>
        <pc:sldMkLst>
          <pc:docMk/>
          <pc:sldMk cId="3472964082" sldId="550"/>
        </pc:sldMkLst>
        <pc:spChg chg="mod">
          <ac:chgData name="Eileen Fleming Suse" userId="S::efs3844@ads.northwestern.edu::725c94ef-d051-42d7-9d33-8572765d592b" providerId="AD" clId="Web-{C766F19B-0830-AB8B-3618-23EF0AC64A24}" dt="2023-10-30T15:48:12.563" v="25" actId="20577"/>
          <ac:spMkLst>
            <pc:docMk/>
            <pc:sldMk cId="3472964082" sldId="550"/>
            <ac:spMk id="20" creationId="{00000000-0000-0000-0000-000000000000}"/>
          </ac:spMkLst>
        </pc:spChg>
        <pc:spChg chg="del">
          <ac:chgData name="Eileen Fleming Suse" userId="S::efs3844@ads.northwestern.edu::725c94ef-d051-42d7-9d33-8572765d592b" providerId="AD" clId="Web-{C766F19B-0830-AB8B-3618-23EF0AC64A24}" dt="2023-10-30T15:48:44.971" v="28"/>
          <ac:spMkLst>
            <pc:docMk/>
            <pc:sldMk cId="3472964082" sldId="550"/>
            <ac:spMk id="21" creationId="{00000000-0000-0000-0000-000000000000}"/>
          </ac:spMkLst>
        </pc:spChg>
        <pc:spChg chg="mod">
          <ac:chgData name="Eileen Fleming Suse" userId="S::efs3844@ads.northwestern.edu::725c94ef-d051-42d7-9d33-8572765d592b" providerId="AD" clId="Web-{C766F19B-0830-AB8B-3618-23EF0AC64A24}" dt="2023-10-30T15:48:45.111" v="30" actId="20577"/>
          <ac:spMkLst>
            <pc:docMk/>
            <pc:sldMk cId="3472964082" sldId="550"/>
            <ac:spMk id="23" creationId="{00000000-0000-0000-0000-000000000000}"/>
          </ac:spMkLst>
        </pc:spChg>
        <pc:spChg chg="del">
          <ac:chgData name="Eileen Fleming Suse" userId="S::efs3844@ads.northwestern.edu::725c94ef-d051-42d7-9d33-8572765d592b" providerId="AD" clId="Web-{C766F19B-0830-AB8B-3618-23EF0AC64A24}" dt="2023-10-30T15:48:45.330" v="31"/>
          <ac:spMkLst>
            <pc:docMk/>
            <pc:sldMk cId="3472964082" sldId="550"/>
            <ac:spMk id="24" creationId="{00000000-0000-0000-0000-000000000000}"/>
          </ac:spMkLst>
        </pc:spChg>
        <pc:spChg chg="add del">
          <ac:chgData name="Eileen Fleming Suse" userId="S::efs3844@ads.northwestern.edu::725c94ef-d051-42d7-9d33-8572765d592b" providerId="AD" clId="Web-{C766F19B-0830-AB8B-3618-23EF0AC64A24}" dt="2023-10-30T15:49:33.394" v="37"/>
          <ac:spMkLst>
            <pc:docMk/>
            <pc:sldMk cId="3472964082" sldId="550"/>
            <ac:spMk id="31" creationId="{00000000-0000-0000-0000-000000000000}"/>
          </ac:spMkLst>
        </pc:spChg>
        <pc:spChg chg="mod">
          <ac:chgData name="Eileen Fleming Suse" userId="S::efs3844@ads.northwestern.edu::725c94ef-d051-42d7-9d33-8572765d592b" providerId="AD" clId="Web-{C766F19B-0830-AB8B-3618-23EF0AC64A24}" dt="2023-10-30T15:48:22.704" v="26" actId="20577"/>
          <ac:spMkLst>
            <pc:docMk/>
            <pc:sldMk cId="3472964082" sldId="550"/>
            <ac:spMk id="51" creationId="{00000000-0000-0000-0000-000000000000}"/>
          </ac:spMkLst>
        </pc:spChg>
        <pc:spChg chg="del">
          <ac:chgData name="Eileen Fleming Suse" userId="S::efs3844@ads.northwestern.edu::725c94ef-d051-42d7-9d33-8572765d592b" providerId="AD" clId="Web-{C766F19B-0830-AB8B-3618-23EF0AC64A24}" dt="2023-10-30T15:48:34.767" v="27"/>
          <ac:spMkLst>
            <pc:docMk/>
            <pc:sldMk cId="3472964082" sldId="550"/>
            <ac:spMk id="52" creationId="{00000000-0000-0000-0000-000000000000}"/>
          </ac:spMkLst>
        </pc:spChg>
        <pc:spChg chg="mod">
          <ac:chgData name="Eileen Fleming Suse" userId="S::efs3844@ads.northwestern.edu::725c94ef-d051-42d7-9d33-8572765d592b" providerId="AD" clId="Web-{C766F19B-0830-AB8B-3618-23EF0AC64A24}" dt="2023-10-30T15:49:04.456" v="33" actId="20577"/>
          <ac:spMkLst>
            <pc:docMk/>
            <pc:sldMk cId="3472964082" sldId="550"/>
            <ac:spMk id="53" creationId="{00000000-0000-0000-0000-000000000000}"/>
          </ac:spMkLst>
        </pc:spChg>
        <pc:spChg chg="del mod">
          <ac:chgData name="Eileen Fleming Suse" userId="S::efs3844@ads.northwestern.edu::725c94ef-d051-42d7-9d33-8572765d592b" providerId="AD" clId="Web-{C766F19B-0830-AB8B-3618-23EF0AC64A24}" dt="2023-10-30T15:49:33.300" v="35"/>
          <ac:spMkLst>
            <pc:docMk/>
            <pc:sldMk cId="3472964082" sldId="550"/>
            <ac:spMk id="54" creationId="{00000000-0000-0000-0000-000000000000}"/>
          </ac:spMkLst>
        </pc:spChg>
      </pc:sldChg>
      <pc:sldChg chg="addSp delSp modSp">
        <pc:chgData name="Eileen Fleming Suse" userId="S::efs3844@ads.northwestern.edu::725c94ef-d051-42d7-9d33-8572765d592b" providerId="AD" clId="Web-{C766F19B-0830-AB8B-3618-23EF0AC64A24}" dt="2023-10-30T15:48:02.782" v="23"/>
        <pc:sldMkLst>
          <pc:docMk/>
          <pc:sldMk cId="2562283095" sldId="551"/>
        </pc:sldMkLst>
        <pc:spChg chg="mod">
          <ac:chgData name="Eileen Fleming Suse" userId="S::efs3844@ads.northwestern.edu::725c94ef-d051-42d7-9d33-8572765d592b" providerId="AD" clId="Web-{C766F19B-0830-AB8B-3618-23EF0AC64A24}" dt="2023-10-30T15:46:33.904" v="3" actId="20577"/>
          <ac:spMkLst>
            <pc:docMk/>
            <pc:sldMk cId="2562283095" sldId="551"/>
            <ac:spMk id="20" creationId="{00000000-0000-0000-0000-000000000000}"/>
          </ac:spMkLst>
        </pc:spChg>
        <pc:spChg chg="del">
          <ac:chgData name="Eileen Fleming Suse" userId="S::efs3844@ads.northwestern.edu::725c94ef-d051-42d7-9d33-8572765d592b" providerId="AD" clId="Web-{C766F19B-0830-AB8B-3618-23EF0AC64A24}" dt="2023-10-30T15:46:34.139" v="4"/>
          <ac:spMkLst>
            <pc:docMk/>
            <pc:sldMk cId="2562283095" sldId="551"/>
            <ac:spMk id="21" creationId="{00000000-0000-0000-0000-000000000000}"/>
          </ac:spMkLst>
        </pc:spChg>
        <pc:spChg chg="mod">
          <ac:chgData name="Eileen Fleming Suse" userId="S::efs3844@ads.northwestern.edu::725c94ef-d051-42d7-9d33-8572765d592b" providerId="AD" clId="Web-{C766F19B-0830-AB8B-3618-23EF0AC64A24}" dt="2023-10-30T15:46:45.264" v="13" actId="20577"/>
          <ac:spMkLst>
            <pc:docMk/>
            <pc:sldMk cId="2562283095" sldId="551"/>
            <ac:spMk id="23" creationId="{00000000-0000-0000-0000-000000000000}"/>
          </ac:spMkLst>
        </pc:spChg>
        <pc:spChg chg="add del mod">
          <ac:chgData name="Eileen Fleming Suse" userId="S::efs3844@ads.northwestern.edu::725c94ef-d051-42d7-9d33-8572765d592b" providerId="AD" clId="Web-{C766F19B-0830-AB8B-3618-23EF0AC64A24}" dt="2023-10-30T15:47:13.812" v="15"/>
          <ac:spMkLst>
            <pc:docMk/>
            <pc:sldMk cId="2562283095" sldId="551"/>
            <ac:spMk id="24" creationId="{00000000-0000-0000-0000-000000000000}"/>
          </ac:spMkLst>
        </pc:spChg>
        <pc:spChg chg="mod">
          <ac:chgData name="Eileen Fleming Suse" userId="S::efs3844@ads.northwestern.edu::725c94ef-d051-42d7-9d33-8572765d592b" providerId="AD" clId="Web-{C766F19B-0830-AB8B-3618-23EF0AC64A24}" dt="2023-10-30T15:47:42.781" v="22" actId="20577"/>
          <ac:spMkLst>
            <pc:docMk/>
            <pc:sldMk cId="2562283095" sldId="551"/>
            <ac:spMk id="31" creationId="{00000000-0000-0000-0000-000000000000}"/>
          </ac:spMkLst>
        </pc:spChg>
        <pc:spChg chg="del">
          <ac:chgData name="Eileen Fleming Suse" userId="S::efs3844@ads.northwestern.edu::725c94ef-d051-42d7-9d33-8572765d592b" providerId="AD" clId="Web-{C766F19B-0830-AB8B-3618-23EF0AC64A24}" dt="2023-10-30T15:48:02.782" v="23"/>
          <ac:spMkLst>
            <pc:docMk/>
            <pc:sldMk cId="2562283095" sldId="551"/>
            <ac:spMk id="32" creationId="{00000000-0000-0000-0000-000000000000}"/>
          </ac:spMkLst>
        </pc:spChg>
        <pc:spChg chg="mod">
          <ac:chgData name="Eileen Fleming Suse" userId="S::efs3844@ads.northwestern.edu::725c94ef-d051-42d7-9d33-8572765d592b" providerId="AD" clId="Web-{C766F19B-0830-AB8B-3618-23EF0AC64A24}" dt="2023-10-30T15:46:34.373" v="6" actId="20577"/>
          <ac:spMkLst>
            <pc:docMk/>
            <pc:sldMk cId="2562283095" sldId="551"/>
            <ac:spMk id="51" creationId="{00000000-0000-0000-0000-000000000000}"/>
          </ac:spMkLst>
        </pc:spChg>
        <pc:spChg chg="del">
          <ac:chgData name="Eileen Fleming Suse" userId="S::efs3844@ads.northwestern.edu::725c94ef-d051-42d7-9d33-8572765d592b" providerId="AD" clId="Web-{C766F19B-0830-AB8B-3618-23EF0AC64A24}" dt="2023-10-30T15:46:34.482" v="7"/>
          <ac:spMkLst>
            <pc:docMk/>
            <pc:sldMk cId="2562283095" sldId="551"/>
            <ac:spMk id="52" creationId="{00000000-0000-0000-0000-000000000000}"/>
          </ac:spMkLst>
        </pc:spChg>
        <pc:spChg chg="mod">
          <ac:chgData name="Eileen Fleming Suse" userId="S::efs3844@ads.northwestern.edu::725c94ef-d051-42d7-9d33-8572765d592b" providerId="AD" clId="Web-{C766F19B-0830-AB8B-3618-23EF0AC64A24}" dt="2023-10-30T15:47:14.015" v="18" actId="20577"/>
          <ac:spMkLst>
            <pc:docMk/>
            <pc:sldMk cId="2562283095" sldId="551"/>
            <ac:spMk id="53" creationId="{00000000-0000-0000-0000-000000000000}"/>
          </ac:spMkLst>
        </pc:spChg>
        <pc:spChg chg="del">
          <ac:chgData name="Eileen Fleming Suse" userId="S::efs3844@ads.northwestern.edu::725c94ef-d051-42d7-9d33-8572765d592b" providerId="AD" clId="Web-{C766F19B-0830-AB8B-3618-23EF0AC64A24}" dt="2023-10-30T15:47:33.031" v="19"/>
          <ac:spMkLst>
            <pc:docMk/>
            <pc:sldMk cId="2562283095" sldId="551"/>
            <ac:spMk id="54" creationId="{00000000-0000-0000-0000-000000000000}"/>
          </ac:spMkLst>
        </pc:spChg>
      </pc:sldChg>
    </pc:docChg>
  </pc:docChgLst>
  <pc:docChgLst>
    <pc:chgData name="Eileen Fleming Suse" userId="S::efs3844@ads.northwestern.edu::725c94ef-d051-42d7-9d33-8572765d592b" providerId="AD" clId="Web-{27D417B1-AC1D-5613-774C-09BCD51B442A}"/>
    <pc:docChg chg="addSld delSld modSld sldOrd">
      <pc:chgData name="Eileen Fleming Suse" userId="S::efs3844@ads.northwestern.edu::725c94ef-d051-42d7-9d33-8572765d592b" providerId="AD" clId="Web-{27D417B1-AC1D-5613-774C-09BCD51B442A}" dt="2023-11-20T15:57:10.100" v="150" actId="20577"/>
      <pc:docMkLst>
        <pc:docMk/>
      </pc:docMkLst>
      <pc:sldChg chg="modSp">
        <pc:chgData name="Eileen Fleming Suse" userId="S::efs3844@ads.northwestern.edu::725c94ef-d051-42d7-9d33-8572765d592b" providerId="AD" clId="Web-{27D417B1-AC1D-5613-774C-09BCD51B442A}" dt="2023-11-20T15:49:46.887" v="131" actId="20577"/>
        <pc:sldMkLst>
          <pc:docMk/>
          <pc:sldMk cId="4044691067" sldId="283"/>
        </pc:sldMkLst>
        <pc:spChg chg="mod">
          <ac:chgData name="Eileen Fleming Suse" userId="S::efs3844@ads.northwestern.edu::725c94ef-d051-42d7-9d33-8572765d592b" providerId="AD" clId="Web-{27D417B1-AC1D-5613-774C-09BCD51B442A}" dt="2023-11-20T15:49:46.887" v="131"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27D417B1-AC1D-5613-774C-09BCD51B442A}" dt="2023-11-20T15:38:26.622" v="125" actId="1076"/>
        <pc:sldMkLst>
          <pc:docMk/>
          <pc:sldMk cId="97208790" sldId="723"/>
        </pc:sldMkLst>
        <pc:spChg chg="mod">
          <ac:chgData name="Eileen Fleming Suse" userId="S::efs3844@ads.northwestern.edu::725c94ef-d051-42d7-9d33-8572765d592b" providerId="AD" clId="Web-{27D417B1-AC1D-5613-774C-09BCD51B442A}" dt="2023-11-20T15:38:26.622" v="125" actId="1076"/>
          <ac:spMkLst>
            <pc:docMk/>
            <pc:sldMk cId="97208790" sldId="723"/>
            <ac:spMk id="8" creationId="{24CD5883-74F0-901B-1AE1-A53D4170658C}"/>
          </ac:spMkLst>
        </pc:spChg>
        <pc:spChg chg="mod">
          <ac:chgData name="Eileen Fleming Suse" userId="S::efs3844@ads.northwestern.edu::725c94ef-d051-42d7-9d33-8572765d592b" providerId="AD" clId="Web-{27D417B1-AC1D-5613-774C-09BCD51B442A}" dt="2023-11-20T15:38:26.575" v="124" actId="1076"/>
          <ac:spMkLst>
            <pc:docMk/>
            <pc:sldMk cId="97208790" sldId="723"/>
            <ac:spMk id="10" creationId="{8BCC0F5C-3791-38AB-6A34-E5D5FCAACFCB}"/>
          </ac:spMkLst>
        </pc:spChg>
      </pc:sldChg>
      <pc:sldChg chg="modSp">
        <pc:chgData name="Eileen Fleming Suse" userId="S::efs3844@ads.northwestern.edu::725c94ef-d051-42d7-9d33-8572765d592b" providerId="AD" clId="Web-{27D417B1-AC1D-5613-774C-09BCD51B442A}" dt="2023-11-20T15:48:31.322" v="126" actId="14100"/>
        <pc:sldMkLst>
          <pc:docMk/>
          <pc:sldMk cId="1390059426" sldId="726"/>
        </pc:sldMkLst>
        <pc:spChg chg="mod">
          <ac:chgData name="Eileen Fleming Suse" userId="S::efs3844@ads.northwestern.edu::725c94ef-d051-42d7-9d33-8572765d592b" providerId="AD" clId="Web-{27D417B1-AC1D-5613-774C-09BCD51B442A}" dt="2023-11-20T15:48:31.322" v="126" actId="14100"/>
          <ac:spMkLst>
            <pc:docMk/>
            <pc:sldMk cId="1390059426" sldId="726"/>
            <ac:spMk id="19" creationId="{F49C1F1A-614A-5749-1A3F-78980B65ADBC}"/>
          </ac:spMkLst>
        </pc:spChg>
        <pc:spChg chg="mod">
          <ac:chgData name="Eileen Fleming Suse" userId="S::efs3844@ads.northwestern.edu::725c94ef-d051-42d7-9d33-8572765d592b" providerId="AD" clId="Web-{27D417B1-AC1D-5613-774C-09BCD51B442A}" dt="2023-11-20T15:37:53.512" v="121" actId="20577"/>
          <ac:spMkLst>
            <pc:docMk/>
            <pc:sldMk cId="1390059426" sldId="726"/>
            <ac:spMk id="25" creationId="{6DD46D80-F576-4F56-C047-1645F85E88F8}"/>
          </ac:spMkLst>
        </pc:spChg>
        <pc:spChg chg="mod">
          <ac:chgData name="Eileen Fleming Suse" userId="S::efs3844@ads.northwestern.edu::725c94ef-d051-42d7-9d33-8572765d592b" providerId="AD" clId="Web-{27D417B1-AC1D-5613-774C-09BCD51B442A}" dt="2023-11-20T15:38:04.715" v="123" actId="20577"/>
          <ac:spMkLst>
            <pc:docMk/>
            <pc:sldMk cId="1390059426" sldId="726"/>
            <ac:spMk id="26" creationId="{585B113D-37B0-A626-E412-E3D462910528}"/>
          </ac:spMkLst>
        </pc:spChg>
      </pc:sldChg>
      <pc:sldChg chg="modSp">
        <pc:chgData name="Eileen Fleming Suse" userId="S::efs3844@ads.northwestern.edu::725c94ef-d051-42d7-9d33-8572765d592b" providerId="AD" clId="Web-{27D417B1-AC1D-5613-774C-09BCD51B442A}" dt="2023-11-20T15:48:42.401" v="127" actId="14100"/>
        <pc:sldMkLst>
          <pc:docMk/>
          <pc:sldMk cId="3339906105" sldId="727"/>
        </pc:sldMkLst>
        <pc:spChg chg="mod">
          <ac:chgData name="Eileen Fleming Suse" userId="S::efs3844@ads.northwestern.edu::725c94ef-d051-42d7-9d33-8572765d592b" providerId="AD" clId="Web-{27D417B1-AC1D-5613-774C-09BCD51B442A}" dt="2023-11-20T15:48:42.401" v="127" actId="14100"/>
          <ac:spMkLst>
            <pc:docMk/>
            <pc:sldMk cId="3339906105" sldId="727"/>
            <ac:spMk id="19" creationId="{F49C1F1A-614A-5749-1A3F-78980B65ADBC}"/>
          </ac:spMkLst>
        </pc:spChg>
        <pc:spChg chg="mod">
          <ac:chgData name="Eileen Fleming Suse" userId="S::efs3844@ads.northwestern.edu::725c94ef-d051-42d7-9d33-8572765d592b" providerId="AD" clId="Web-{27D417B1-AC1D-5613-774C-09BCD51B442A}" dt="2023-11-20T15:37:52.715" v="114" actId="20577"/>
          <ac:spMkLst>
            <pc:docMk/>
            <pc:sldMk cId="3339906105" sldId="727"/>
            <ac:spMk id="25" creationId="{6DD46D80-F576-4F56-C047-1645F85E88F8}"/>
          </ac:spMkLst>
        </pc:spChg>
        <pc:spChg chg="mod">
          <ac:chgData name="Eileen Fleming Suse" userId="S::efs3844@ads.northwestern.edu::725c94ef-d051-42d7-9d33-8572765d592b" providerId="AD" clId="Web-{27D417B1-AC1D-5613-774C-09BCD51B442A}" dt="2023-11-20T15:37:53.230" v="118" actId="20577"/>
          <ac:spMkLst>
            <pc:docMk/>
            <pc:sldMk cId="3339906105" sldId="727"/>
            <ac:spMk id="26" creationId="{585B113D-37B0-A626-E412-E3D462910528}"/>
          </ac:spMkLst>
        </pc:spChg>
      </pc:sldChg>
      <pc:sldChg chg="modSp">
        <pc:chgData name="Eileen Fleming Suse" userId="S::efs3844@ads.northwestern.edu::725c94ef-d051-42d7-9d33-8572765d592b" providerId="AD" clId="Web-{27D417B1-AC1D-5613-774C-09BCD51B442A}" dt="2023-11-20T15:37:42.293" v="112" actId="20577"/>
        <pc:sldMkLst>
          <pc:docMk/>
          <pc:sldMk cId="2917591221" sldId="728"/>
        </pc:sldMkLst>
        <pc:spChg chg="mod">
          <ac:chgData name="Eileen Fleming Suse" userId="S::efs3844@ads.northwestern.edu::725c94ef-d051-42d7-9d33-8572765d592b" providerId="AD" clId="Web-{27D417B1-AC1D-5613-774C-09BCD51B442A}" dt="2023-11-20T15:37:42.293" v="112" actId="20577"/>
          <ac:spMkLst>
            <pc:docMk/>
            <pc:sldMk cId="2917591221" sldId="728"/>
            <ac:spMk id="7" creationId="{9D897086-E6BA-012D-1320-EFFEB9FABF03}"/>
          </ac:spMkLst>
        </pc:spChg>
        <pc:spChg chg="mod">
          <ac:chgData name="Eileen Fleming Suse" userId="S::efs3844@ads.northwestern.edu::725c94ef-d051-42d7-9d33-8572765d592b" providerId="AD" clId="Web-{27D417B1-AC1D-5613-774C-09BCD51B442A}" dt="2023-11-20T15:37:17.620" v="107" actId="14100"/>
          <ac:spMkLst>
            <pc:docMk/>
            <pc:sldMk cId="2917591221" sldId="728"/>
            <ac:spMk id="51" creationId="{2B8C1492-BA4C-5D85-9326-D4D3751E6D7D}"/>
          </ac:spMkLst>
        </pc:spChg>
      </pc:sldChg>
      <pc:sldChg chg="del">
        <pc:chgData name="Eileen Fleming Suse" userId="S::efs3844@ads.northwestern.edu::725c94ef-d051-42d7-9d33-8572765d592b" providerId="AD" clId="Web-{27D417B1-AC1D-5613-774C-09BCD51B442A}" dt="2023-11-20T15:29:53.798" v="2"/>
        <pc:sldMkLst>
          <pc:docMk/>
          <pc:sldMk cId="3917006652" sldId="748"/>
        </pc:sldMkLst>
      </pc:sldChg>
      <pc:sldChg chg="modSp new ord">
        <pc:chgData name="Eileen Fleming Suse" userId="S::efs3844@ads.northwestern.edu::725c94ef-d051-42d7-9d33-8572765d592b" providerId="AD" clId="Web-{27D417B1-AC1D-5613-774C-09BCD51B442A}" dt="2023-11-20T15:36:59.401" v="100" actId="20577"/>
        <pc:sldMkLst>
          <pc:docMk/>
          <pc:sldMk cId="2760953721" sldId="749"/>
        </pc:sldMkLst>
        <pc:spChg chg="mod">
          <ac:chgData name="Eileen Fleming Suse" userId="S::efs3844@ads.northwestern.edu::725c94ef-d051-42d7-9d33-8572765d592b" providerId="AD" clId="Web-{27D417B1-AC1D-5613-774C-09BCD51B442A}" dt="2023-11-20T15:30:08.329" v="5" actId="20577"/>
          <ac:spMkLst>
            <pc:docMk/>
            <pc:sldMk cId="2760953721" sldId="749"/>
            <ac:spMk id="2" creationId="{74AC9D71-8472-37B2-2DA4-37F1220693E5}"/>
          </ac:spMkLst>
        </pc:spChg>
        <pc:spChg chg="mod">
          <ac:chgData name="Eileen Fleming Suse" userId="S::efs3844@ads.northwestern.edu::725c94ef-d051-42d7-9d33-8572765d592b" providerId="AD" clId="Web-{27D417B1-AC1D-5613-774C-09BCD51B442A}" dt="2023-11-20T15:36:59.401" v="100" actId="20577"/>
          <ac:spMkLst>
            <pc:docMk/>
            <pc:sldMk cId="2760953721" sldId="749"/>
            <ac:spMk id="3" creationId="{84541AC5-1E3B-8499-5879-C2F1A0A6D43C}"/>
          </ac:spMkLst>
        </pc:spChg>
      </pc:sldChg>
      <pc:sldChg chg="addSp delSp modSp new mod setBg">
        <pc:chgData name="Eileen Fleming Suse" userId="S::efs3844@ads.northwestern.edu::725c94ef-d051-42d7-9d33-8572765d592b" providerId="AD" clId="Web-{27D417B1-AC1D-5613-774C-09BCD51B442A}" dt="2023-11-20T15:57:10.100" v="150" actId="20577"/>
        <pc:sldMkLst>
          <pc:docMk/>
          <pc:sldMk cId="1123896291" sldId="750"/>
        </pc:sldMkLst>
        <pc:spChg chg="mod">
          <ac:chgData name="Eileen Fleming Suse" userId="S::efs3844@ads.northwestern.edu::725c94ef-d051-42d7-9d33-8572765d592b" providerId="AD" clId="Web-{27D417B1-AC1D-5613-774C-09BCD51B442A}" dt="2023-11-20T15:57:10.100" v="150" actId="20577"/>
          <ac:spMkLst>
            <pc:docMk/>
            <pc:sldMk cId="1123896291" sldId="750"/>
            <ac:spMk id="2" creationId="{4A8D5212-512B-94C8-CCF1-6B6881A37D96}"/>
          </ac:spMkLst>
        </pc:spChg>
        <pc:spChg chg="del">
          <ac:chgData name="Eileen Fleming Suse" userId="S::efs3844@ads.northwestern.edu::725c94ef-d051-42d7-9d33-8572765d592b" providerId="AD" clId="Web-{27D417B1-AC1D-5613-774C-09BCD51B442A}" dt="2023-11-20T15:55:41.535" v="134"/>
          <ac:spMkLst>
            <pc:docMk/>
            <pc:sldMk cId="1123896291" sldId="750"/>
            <ac:spMk id="3" creationId="{2D4DD92E-2259-317A-D4C7-1EEAB44E8B2A}"/>
          </ac:spMkLst>
        </pc:spChg>
        <pc:spChg chg="mod ord">
          <ac:chgData name="Eileen Fleming Suse" userId="S::efs3844@ads.northwestern.edu::725c94ef-d051-42d7-9d33-8572765d592b" providerId="AD" clId="Web-{27D417B1-AC1D-5613-774C-09BCD51B442A}" dt="2023-11-20T15:55:41.535" v="134"/>
          <ac:spMkLst>
            <pc:docMk/>
            <pc:sldMk cId="1123896291" sldId="750"/>
            <ac:spMk id="4" creationId="{8DB75264-273F-4605-2A91-81ECE1A7E3C2}"/>
          </ac:spMkLst>
        </pc:spChg>
        <pc:spChg chg="mod">
          <ac:chgData name="Eileen Fleming Suse" userId="S::efs3844@ads.northwestern.edu::725c94ef-d051-42d7-9d33-8572765d592b" providerId="AD" clId="Web-{27D417B1-AC1D-5613-774C-09BCD51B442A}" dt="2023-11-20T15:55:41.535" v="134"/>
          <ac:spMkLst>
            <pc:docMk/>
            <pc:sldMk cId="1123896291" sldId="750"/>
            <ac:spMk id="5" creationId="{D7979332-6D70-E77E-398C-79FEE378C255}"/>
          </ac:spMkLst>
        </pc:spChg>
        <pc:spChg chg="add">
          <ac:chgData name="Eileen Fleming Suse" userId="S::efs3844@ads.northwestern.edu::725c94ef-d051-42d7-9d33-8572765d592b" providerId="AD" clId="Web-{27D417B1-AC1D-5613-774C-09BCD51B442A}" dt="2023-11-20T15:55:41.535" v="134"/>
          <ac:spMkLst>
            <pc:docMk/>
            <pc:sldMk cId="1123896291" sldId="750"/>
            <ac:spMk id="11" creationId="{0671A8AE-40A1-4631-A6B8-581AFF065482}"/>
          </ac:spMkLst>
        </pc:spChg>
        <pc:spChg chg="add">
          <ac:chgData name="Eileen Fleming Suse" userId="S::efs3844@ads.northwestern.edu::725c94ef-d051-42d7-9d33-8572765d592b" providerId="AD" clId="Web-{27D417B1-AC1D-5613-774C-09BCD51B442A}" dt="2023-11-20T15:55:41.535" v="134"/>
          <ac:spMkLst>
            <pc:docMk/>
            <pc:sldMk cId="1123896291" sldId="750"/>
            <ac:spMk id="13" creationId="{AB58EF07-17C2-48CF-ABB0-EEF1F17CB8F0}"/>
          </ac:spMkLst>
        </pc:spChg>
        <pc:spChg chg="add">
          <ac:chgData name="Eileen Fleming Suse" userId="S::efs3844@ads.northwestern.edu::725c94ef-d051-42d7-9d33-8572765d592b" providerId="AD" clId="Web-{27D417B1-AC1D-5613-774C-09BCD51B442A}" dt="2023-11-20T15:55:41.535" v="134"/>
          <ac:spMkLst>
            <pc:docMk/>
            <pc:sldMk cId="1123896291" sldId="750"/>
            <ac:spMk id="15" creationId="{AF2F604E-43BE-4DC3-B983-E071523364F8}"/>
          </ac:spMkLst>
        </pc:spChg>
        <pc:spChg chg="add">
          <ac:chgData name="Eileen Fleming Suse" userId="S::efs3844@ads.northwestern.edu::725c94ef-d051-42d7-9d33-8572765d592b" providerId="AD" clId="Web-{27D417B1-AC1D-5613-774C-09BCD51B442A}" dt="2023-11-20T15:55:41.535" v="134"/>
          <ac:spMkLst>
            <pc:docMk/>
            <pc:sldMk cId="1123896291" sldId="750"/>
            <ac:spMk id="17" creationId="{08C9B587-E65E-4B52-B37C-ABEBB6E87928}"/>
          </ac:spMkLst>
        </pc:spChg>
        <pc:picChg chg="add">
          <ac:chgData name="Eileen Fleming Suse" userId="S::efs3844@ads.northwestern.edu::725c94ef-d051-42d7-9d33-8572765d592b" providerId="AD" clId="Web-{27D417B1-AC1D-5613-774C-09BCD51B442A}" dt="2023-11-20T15:55:41.535" v="134"/>
          <ac:picMkLst>
            <pc:docMk/>
            <pc:sldMk cId="1123896291" sldId="750"/>
            <ac:picMk id="7" creationId="{3A359654-A2A5-BB69-5A24-18BCC5C338AC}"/>
          </ac:picMkLst>
        </pc:picChg>
      </pc:sldChg>
    </pc:docChg>
  </pc:docChgLst>
  <pc:docChgLst>
    <pc:chgData name="LCaldarelli" userId="S::lcaldarelli_luriechildrens.org#ext#@nuwildcat.onmicrosoft.com::cd79b54d-c14e-4199-a04a-39c6f592e710" providerId="AD" clId="Web-{F448B036-0349-8976-DAC4-88BE6A4E488E}"/>
    <pc:docChg chg="addSld delSld modSld sldOrd">
      <pc:chgData name="LCaldarelli" userId="S::lcaldarelli_luriechildrens.org#ext#@nuwildcat.onmicrosoft.com::cd79b54d-c14e-4199-a04a-39c6f592e710" providerId="AD" clId="Web-{F448B036-0349-8976-DAC4-88BE6A4E488E}" dt="2023-11-20T05:01:58.052" v="316" actId="20577"/>
      <pc:docMkLst>
        <pc:docMk/>
      </pc:docMkLst>
      <pc:sldChg chg="modSp">
        <pc:chgData name="LCaldarelli" userId="S::lcaldarelli_luriechildrens.org#ext#@nuwildcat.onmicrosoft.com::cd79b54d-c14e-4199-a04a-39c6f592e710" providerId="AD" clId="Web-{F448B036-0349-8976-DAC4-88BE6A4E488E}" dt="2023-11-20T04:10:09.055" v="120" actId="1076"/>
        <pc:sldMkLst>
          <pc:docMk/>
          <pc:sldMk cId="3635595752" sldId="545"/>
        </pc:sldMkLst>
        <pc:spChg chg="mod">
          <ac:chgData name="LCaldarelli" userId="S::lcaldarelli_luriechildrens.org#ext#@nuwildcat.onmicrosoft.com::cd79b54d-c14e-4199-a04a-39c6f592e710" providerId="AD" clId="Web-{F448B036-0349-8976-DAC4-88BE6A4E488E}" dt="2023-11-20T04:10:09.055" v="120" actId="1076"/>
          <ac:spMkLst>
            <pc:docMk/>
            <pc:sldMk cId="3635595752" sldId="545"/>
            <ac:spMk id="2" creationId="{39AAB3FF-760A-B654-5F1B-78AD5BEB6B57}"/>
          </ac:spMkLst>
        </pc:spChg>
        <pc:spChg chg="mod">
          <ac:chgData name="LCaldarelli" userId="S::lcaldarelli_luriechildrens.org#ext#@nuwildcat.onmicrosoft.com::cd79b54d-c14e-4199-a04a-39c6f592e710" providerId="AD" clId="Web-{F448B036-0349-8976-DAC4-88BE6A4E488E}" dt="2023-11-20T04:09:59.961" v="119" actId="20577"/>
          <ac:spMkLst>
            <pc:docMk/>
            <pc:sldMk cId="3635595752" sldId="545"/>
            <ac:spMk id="3" creationId="{BFE56240-A306-0E11-425A-7323821A42F2}"/>
          </ac:spMkLst>
        </pc:spChg>
      </pc:sldChg>
      <pc:sldChg chg="modSp">
        <pc:chgData name="LCaldarelli" userId="S::lcaldarelli_luriechildrens.org#ext#@nuwildcat.onmicrosoft.com::cd79b54d-c14e-4199-a04a-39c6f592e710" providerId="AD" clId="Web-{F448B036-0349-8976-DAC4-88BE6A4E488E}" dt="2023-11-20T04:16:18.798" v="149" actId="20577"/>
        <pc:sldMkLst>
          <pc:docMk/>
          <pc:sldMk cId="1036043289" sldId="546"/>
        </pc:sldMkLst>
        <pc:spChg chg="mod">
          <ac:chgData name="LCaldarelli" userId="S::lcaldarelli_luriechildrens.org#ext#@nuwildcat.onmicrosoft.com::cd79b54d-c14e-4199-a04a-39c6f592e710" providerId="AD" clId="Web-{F448B036-0349-8976-DAC4-88BE6A4E488E}" dt="2023-11-20T04:16:18.798" v="149" actId="20577"/>
          <ac:spMkLst>
            <pc:docMk/>
            <pc:sldMk cId="1036043289" sldId="546"/>
            <ac:spMk id="3" creationId="{BACE41BD-1CAE-1299-918F-5B1678DE12B4}"/>
          </ac:spMkLst>
        </pc:spChg>
      </pc:sldChg>
      <pc:sldChg chg="modSp">
        <pc:chgData name="LCaldarelli" userId="S::lcaldarelli_luriechildrens.org#ext#@nuwildcat.onmicrosoft.com::cd79b54d-c14e-4199-a04a-39c6f592e710" providerId="AD" clId="Web-{F448B036-0349-8976-DAC4-88BE6A4E488E}" dt="2023-11-20T04:43:29.776" v="269" actId="20577"/>
        <pc:sldMkLst>
          <pc:docMk/>
          <pc:sldMk cId="3745706804" sldId="548"/>
        </pc:sldMkLst>
        <pc:spChg chg="mod">
          <ac:chgData name="LCaldarelli" userId="S::lcaldarelli_luriechildrens.org#ext#@nuwildcat.onmicrosoft.com::cd79b54d-c14e-4199-a04a-39c6f592e710" providerId="AD" clId="Web-{F448B036-0349-8976-DAC4-88BE6A4E488E}" dt="2023-11-20T04:43:29.776" v="269" actId="20577"/>
          <ac:spMkLst>
            <pc:docMk/>
            <pc:sldMk cId="3745706804" sldId="548"/>
            <ac:spMk id="3" creationId="{C0454086-94BF-0693-766D-F1659194519A}"/>
          </ac:spMkLst>
        </pc:spChg>
      </pc:sldChg>
      <pc:sldChg chg="modSp">
        <pc:chgData name="LCaldarelli" userId="S::lcaldarelli_luriechildrens.org#ext#@nuwildcat.onmicrosoft.com::cd79b54d-c14e-4199-a04a-39c6f592e710" providerId="AD" clId="Web-{F448B036-0349-8976-DAC4-88BE6A4E488E}" dt="2023-11-20T04:15:55.344" v="148" actId="20577"/>
        <pc:sldMkLst>
          <pc:docMk/>
          <pc:sldMk cId="714682852" sldId="552"/>
        </pc:sldMkLst>
        <pc:spChg chg="mod">
          <ac:chgData name="LCaldarelli" userId="S::lcaldarelli_luriechildrens.org#ext#@nuwildcat.onmicrosoft.com::cd79b54d-c14e-4199-a04a-39c6f592e710" providerId="AD" clId="Web-{F448B036-0349-8976-DAC4-88BE6A4E488E}" dt="2023-11-20T04:15:55.344" v="148" actId="20577"/>
          <ac:spMkLst>
            <pc:docMk/>
            <pc:sldMk cId="714682852" sldId="552"/>
            <ac:spMk id="39" creationId="{E29ABAB9-1C54-B808-EDD4-5D83CC77687C}"/>
          </ac:spMkLst>
        </pc:spChg>
        <pc:grpChg chg="mod">
          <ac:chgData name="LCaldarelli" userId="S::lcaldarelli_luriechildrens.org#ext#@nuwildcat.onmicrosoft.com::cd79b54d-c14e-4199-a04a-39c6f592e710" providerId="AD" clId="Web-{F448B036-0349-8976-DAC4-88BE6A4E488E}" dt="2023-11-20T04:15:42.594" v="147" actId="14100"/>
          <ac:grpSpMkLst>
            <pc:docMk/>
            <pc:sldMk cId="714682852" sldId="552"/>
            <ac:grpSpMk id="41" creationId="{61ED38C4-194D-089B-AEF0-A50E211B69E8}"/>
          </ac:grpSpMkLst>
        </pc:grpChg>
      </pc:sldChg>
      <pc:sldChg chg="modSp">
        <pc:chgData name="LCaldarelli" userId="S::lcaldarelli_luriechildrens.org#ext#@nuwildcat.onmicrosoft.com::cd79b54d-c14e-4199-a04a-39c6f592e710" providerId="AD" clId="Web-{F448B036-0349-8976-DAC4-88BE6A4E488E}" dt="2023-11-20T04:58:51.891" v="306" actId="20577"/>
        <pc:sldMkLst>
          <pc:docMk/>
          <pc:sldMk cId="1141815353" sldId="562"/>
        </pc:sldMkLst>
        <pc:spChg chg="mod">
          <ac:chgData name="LCaldarelli" userId="S::lcaldarelli_luriechildrens.org#ext#@nuwildcat.onmicrosoft.com::cd79b54d-c14e-4199-a04a-39c6f592e710" providerId="AD" clId="Web-{F448B036-0349-8976-DAC4-88BE6A4E488E}" dt="2023-11-20T04:58:51.891" v="306" actId="20577"/>
          <ac:spMkLst>
            <pc:docMk/>
            <pc:sldMk cId="1141815353" sldId="562"/>
            <ac:spMk id="360" creationId="{FE59A3A2-BFF2-9772-51D6-9CCB620AEB53}"/>
          </ac:spMkLst>
        </pc:spChg>
      </pc:sldChg>
      <pc:sldChg chg="modSp">
        <pc:chgData name="LCaldarelli" userId="S::lcaldarelli_luriechildrens.org#ext#@nuwildcat.onmicrosoft.com::cd79b54d-c14e-4199-a04a-39c6f592e710" providerId="AD" clId="Web-{F448B036-0349-8976-DAC4-88BE6A4E488E}" dt="2023-11-20T04:20:07.178" v="155" actId="20577"/>
        <pc:sldMkLst>
          <pc:docMk/>
          <pc:sldMk cId="785115983" sldId="578"/>
        </pc:sldMkLst>
        <pc:spChg chg="mod">
          <ac:chgData name="LCaldarelli" userId="S::lcaldarelli_luriechildrens.org#ext#@nuwildcat.onmicrosoft.com::cd79b54d-c14e-4199-a04a-39c6f592e710" providerId="AD" clId="Web-{F448B036-0349-8976-DAC4-88BE6A4E488E}" dt="2023-11-20T04:18:26.192" v="151" actId="20577"/>
          <ac:spMkLst>
            <pc:docMk/>
            <pc:sldMk cId="785115983" sldId="578"/>
            <ac:spMk id="44" creationId="{00000000-0000-0000-0000-000000000000}"/>
          </ac:spMkLst>
        </pc:spChg>
        <pc:spChg chg="mod">
          <ac:chgData name="LCaldarelli" userId="S::lcaldarelli_luriechildrens.org#ext#@nuwildcat.onmicrosoft.com::cd79b54d-c14e-4199-a04a-39c6f592e710" providerId="AD" clId="Web-{F448B036-0349-8976-DAC4-88BE6A4E488E}" dt="2023-11-20T04:20:07.178" v="155" actId="20577"/>
          <ac:spMkLst>
            <pc:docMk/>
            <pc:sldMk cId="785115983" sldId="578"/>
            <ac:spMk id="48" creationId="{00000000-0000-0000-0000-000000000000}"/>
          </ac:spMkLst>
        </pc:spChg>
      </pc:sldChg>
      <pc:sldChg chg="modSp">
        <pc:chgData name="LCaldarelli" userId="S::lcaldarelli_luriechildrens.org#ext#@nuwildcat.onmicrosoft.com::cd79b54d-c14e-4199-a04a-39c6f592e710" providerId="AD" clId="Web-{F448B036-0349-8976-DAC4-88BE6A4E488E}" dt="2023-11-20T04:17:49.409" v="150" actId="20577"/>
        <pc:sldMkLst>
          <pc:docMk/>
          <pc:sldMk cId="4283907660" sldId="580"/>
        </pc:sldMkLst>
        <pc:spChg chg="mod">
          <ac:chgData name="LCaldarelli" userId="S::lcaldarelli_luriechildrens.org#ext#@nuwildcat.onmicrosoft.com::cd79b54d-c14e-4199-a04a-39c6f592e710" providerId="AD" clId="Web-{F448B036-0349-8976-DAC4-88BE6A4E488E}" dt="2023-11-20T04:17:49.409" v="150" actId="20577"/>
          <ac:spMkLst>
            <pc:docMk/>
            <pc:sldMk cId="4283907660" sldId="580"/>
            <ac:spMk id="59" creationId="{00000000-0000-0000-0000-000000000000}"/>
          </ac:spMkLst>
        </pc:spChg>
      </pc:sldChg>
      <pc:sldChg chg="modSp">
        <pc:chgData name="LCaldarelli" userId="S::lcaldarelli_luriechildrens.org#ext#@nuwildcat.onmicrosoft.com::cd79b54d-c14e-4199-a04a-39c6f592e710" providerId="AD" clId="Web-{F448B036-0349-8976-DAC4-88BE6A4E488E}" dt="2023-11-20T04:15:21.797" v="142" actId="20577"/>
        <pc:sldMkLst>
          <pc:docMk/>
          <pc:sldMk cId="3726638559" sldId="616"/>
        </pc:sldMkLst>
        <pc:spChg chg="mod">
          <ac:chgData name="LCaldarelli" userId="S::lcaldarelli_luriechildrens.org#ext#@nuwildcat.onmicrosoft.com::cd79b54d-c14e-4199-a04a-39c6f592e710" providerId="AD" clId="Web-{F448B036-0349-8976-DAC4-88BE6A4E488E}" dt="2023-11-20T04:15:21.797" v="142" actId="20577"/>
          <ac:spMkLst>
            <pc:docMk/>
            <pc:sldMk cId="3726638559" sldId="616"/>
            <ac:spMk id="2175" creationId="{00000000-0000-0000-0000-000000000000}"/>
          </ac:spMkLst>
        </pc:spChg>
      </pc:sldChg>
      <pc:sldChg chg="modSp">
        <pc:chgData name="LCaldarelli" userId="S::lcaldarelli_luriechildrens.org#ext#@nuwildcat.onmicrosoft.com::cd79b54d-c14e-4199-a04a-39c6f592e710" providerId="AD" clId="Web-{F448B036-0349-8976-DAC4-88BE6A4E488E}" dt="2023-11-20T04:01:36.480" v="94" actId="1076"/>
        <pc:sldMkLst>
          <pc:docMk/>
          <pc:sldMk cId="3572565421" sldId="652"/>
        </pc:sldMkLst>
        <pc:spChg chg="mod">
          <ac:chgData name="LCaldarelli" userId="S::lcaldarelli_luriechildrens.org#ext#@nuwildcat.onmicrosoft.com::cd79b54d-c14e-4199-a04a-39c6f592e710" providerId="AD" clId="Web-{F448B036-0349-8976-DAC4-88BE6A4E488E}" dt="2023-11-20T04:01:36.480" v="94" actId="1076"/>
          <ac:spMkLst>
            <pc:docMk/>
            <pc:sldMk cId="3572565421" sldId="652"/>
            <ac:spMk id="2" creationId="{254DF95E-4E67-BAF0-2898-584D247DD41D}"/>
          </ac:spMkLst>
        </pc:spChg>
      </pc:sldChg>
      <pc:sldChg chg="modSp">
        <pc:chgData name="LCaldarelli" userId="S::lcaldarelli_luriechildrens.org#ext#@nuwildcat.onmicrosoft.com::cd79b54d-c14e-4199-a04a-39c6f592e710" providerId="AD" clId="Web-{F448B036-0349-8976-DAC4-88BE6A4E488E}" dt="2023-11-20T04:02:36.763" v="98" actId="1076"/>
        <pc:sldMkLst>
          <pc:docMk/>
          <pc:sldMk cId="4023770579" sldId="654"/>
        </pc:sldMkLst>
        <pc:spChg chg="mod">
          <ac:chgData name="LCaldarelli" userId="S::lcaldarelli_luriechildrens.org#ext#@nuwildcat.onmicrosoft.com::cd79b54d-c14e-4199-a04a-39c6f592e710" providerId="AD" clId="Web-{F448B036-0349-8976-DAC4-88BE6A4E488E}" dt="2023-11-20T04:02:36.763" v="98" actId="1076"/>
          <ac:spMkLst>
            <pc:docMk/>
            <pc:sldMk cId="4023770579" sldId="654"/>
            <ac:spMk id="2" creationId="{2D358DD0-2AA0-AB8F-45B1-8C96C2105FD9}"/>
          </ac:spMkLst>
        </pc:spChg>
      </pc:sldChg>
      <pc:sldChg chg="ord">
        <pc:chgData name="LCaldarelli" userId="S::lcaldarelli_luriechildrens.org#ext#@nuwildcat.onmicrosoft.com::cd79b54d-c14e-4199-a04a-39c6f592e710" providerId="AD" clId="Web-{F448B036-0349-8976-DAC4-88BE6A4E488E}" dt="2023-11-20T04:14:54.139" v="140"/>
        <pc:sldMkLst>
          <pc:docMk/>
          <pc:sldMk cId="3550543422" sldId="655"/>
        </pc:sldMkLst>
      </pc:sldChg>
      <pc:sldChg chg="modSp">
        <pc:chgData name="LCaldarelli" userId="S::lcaldarelli_luriechildrens.org#ext#@nuwildcat.onmicrosoft.com::cd79b54d-c14e-4199-a04a-39c6f592e710" providerId="AD" clId="Web-{F448B036-0349-8976-DAC4-88BE6A4E488E}" dt="2023-11-20T04:59:24.454" v="311" actId="20577"/>
        <pc:sldMkLst>
          <pc:docMk/>
          <pc:sldMk cId="3336998141" sldId="681"/>
        </pc:sldMkLst>
        <pc:spChg chg="mod">
          <ac:chgData name="LCaldarelli" userId="S::lcaldarelli_luriechildrens.org#ext#@nuwildcat.onmicrosoft.com::cd79b54d-c14e-4199-a04a-39c6f592e710" providerId="AD" clId="Web-{F448B036-0349-8976-DAC4-88BE6A4E488E}" dt="2023-11-20T04:59:24.454" v="311" actId="20577"/>
          <ac:spMkLst>
            <pc:docMk/>
            <pc:sldMk cId="3336998141" sldId="681"/>
            <ac:spMk id="3" creationId="{00000000-0000-0000-0000-000000000000}"/>
          </ac:spMkLst>
        </pc:spChg>
      </pc:sldChg>
      <pc:sldChg chg="ord">
        <pc:chgData name="LCaldarelli" userId="S::lcaldarelli_luriechildrens.org#ext#@nuwildcat.onmicrosoft.com::cd79b54d-c14e-4199-a04a-39c6f592e710" providerId="AD" clId="Web-{F448B036-0349-8976-DAC4-88BE6A4E488E}" dt="2023-11-20T04:56:59.014" v="304"/>
        <pc:sldMkLst>
          <pc:docMk/>
          <pc:sldMk cId="1641636598" sldId="687"/>
        </pc:sldMkLst>
      </pc:sldChg>
      <pc:sldChg chg="ord">
        <pc:chgData name="LCaldarelli" userId="S::lcaldarelli_luriechildrens.org#ext#@nuwildcat.onmicrosoft.com::cd79b54d-c14e-4199-a04a-39c6f592e710" providerId="AD" clId="Web-{F448B036-0349-8976-DAC4-88BE6A4E488E}" dt="2023-11-20T04:53:22.540" v="300"/>
        <pc:sldMkLst>
          <pc:docMk/>
          <pc:sldMk cId="661046635" sldId="694"/>
        </pc:sldMkLst>
      </pc:sldChg>
      <pc:sldChg chg="ord">
        <pc:chgData name="LCaldarelli" userId="S::lcaldarelli_luriechildrens.org#ext#@nuwildcat.onmicrosoft.com::cd79b54d-c14e-4199-a04a-39c6f592e710" providerId="AD" clId="Web-{F448B036-0349-8976-DAC4-88BE6A4E488E}" dt="2023-11-20T04:53:35.634" v="301"/>
        <pc:sldMkLst>
          <pc:docMk/>
          <pc:sldMk cId="3174384986" sldId="695"/>
        </pc:sldMkLst>
      </pc:sldChg>
      <pc:sldChg chg="ord">
        <pc:chgData name="LCaldarelli" userId="S::lcaldarelli_luriechildrens.org#ext#@nuwildcat.onmicrosoft.com::cd79b54d-c14e-4199-a04a-39c6f592e710" providerId="AD" clId="Web-{F448B036-0349-8976-DAC4-88BE6A4E488E}" dt="2023-11-20T04:53:50.572" v="302"/>
        <pc:sldMkLst>
          <pc:docMk/>
          <pc:sldMk cId="4074859317" sldId="696"/>
        </pc:sldMkLst>
      </pc:sldChg>
      <pc:sldChg chg="ord">
        <pc:chgData name="LCaldarelli" userId="S::lcaldarelli_luriechildrens.org#ext#@nuwildcat.onmicrosoft.com::cd79b54d-c14e-4199-a04a-39c6f592e710" providerId="AD" clId="Web-{F448B036-0349-8976-DAC4-88BE6A4E488E}" dt="2023-11-20T04:55:59.122" v="303"/>
        <pc:sldMkLst>
          <pc:docMk/>
          <pc:sldMk cId="1549218491" sldId="697"/>
        </pc:sldMkLst>
      </pc:sldChg>
      <pc:sldChg chg="modSp">
        <pc:chgData name="LCaldarelli" userId="S::lcaldarelli_luriechildrens.org#ext#@nuwildcat.onmicrosoft.com::cd79b54d-c14e-4199-a04a-39c6f592e710" providerId="AD" clId="Web-{F448B036-0349-8976-DAC4-88BE6A4E488E}" dt="2023-11-20T04:50:06.207" v="295" actId="20577"/>
        <pc:sldMkLst>
          <pc:docMk/>
          <pc:sldMk cId="2547146411" sldId="699"/>
        </pc:sldMkLst>
        <pc:spChg chg="mod">
          <ac:chgData name="LCaldarelli" userId="S::lcaldarelli_luriechildrens.org#ext#@nuwildcat.onmicrosoft.com::cd79b54d-c14e-4199-a04a-39c6f592e710" providerId="AD" clId="Web-{F448B036-0349-8976-DAC4-88BE6A4E488E}" dt="2023-11-20T04:48:46.080" v="294" actId="1076"/>
          <ac:spMkLst>
            <pc:docMk/>
            <pc:sldMk cId="2547146411" sldId="699"/>
            <ac:spMk id="3" creationId="{00000000-0000-0000-0000-000000000000}"/>
          </ac:spMkLst>
        </pc:spChg>
        <pc:spChg chg="mod">
          <ac:chgData name="LCaldarelli" userId="S::lcaldarelli_luriechildrens.org#ext#@nuwildcat.onmicrosoft.com::cd79b54d-c14e-4199-a04a-39c6f592e710" providerId="AD" clId="Web-{F448B036-0349-8976-DAC4-88BE6A4E488E}" dt="2023-11-20T04:50:06.207" v="295" actId="20577"/>
          <ac:spMkLst>
            <pc:docMk/>
            <pc:sldMk cId="2547146411" sldId="699"/>
            <ac:spMk id="36" creationId="{6DDD1FA6-DDF8-552B-4E86-7E808427ADE7}"/>
          </ac:spMkLst>
        </pc:spChg>
      </pc:sldChg>
      <pc:sldChg chg="modSp">
        <pc:chgData name="LCaldarelli" userId="S::lcaldarelli_luriechildrens.org#ext#@nuwildcat.onmicrosoft.com::cd79b54d-c14e-4199-a04a-39c6f592e710" providerId="AD" clId="Web-{F448B036-0349-8976-DAC4-88BE6A4E488E}" dt="2023-11-20T04:51:01.193" v="299" actId="20577"/>
        <pc:sldMkLst>
          <pc:docMk/>
          <pc:sldMk cId="2361021200" sldId="700"/>
        </pc:sldMkLst>
        <pc:graphicFrameChg chg="modGraphic">
          <ac:chgData name="LCaldarelli" userId="S::lcaldarelli_luriechildrens.org#ext#@nuwildcat.onmicrosoft.com::cd79b54d-c14e-4199-a04a-39c6f592e710" providerId="AD" clId="Web-{F448B036-0349-8976-DAC4-88BE6A4E488E}" dt="2023-11-20T04:51:01.193" v="299" actId="20577"/>
          <ac:graphicFrameMkLst>
            <pc:docMk/>
            <pc:sldMk cId="2361021200" sldId="700"/>
            <ac:graphicFrameMk id="7" creationId="{F06CF2E9-18E9-F336-FAF0-9ACB11E023F2}"/>
          </ac:graphicFrameMkLst>
        </pc:graphicFrameChg>
      </pc:sldChg>
      <pc:sldChg chg="ord">
        <pc:chgData name="LCaldarelli" userId="S::lcaldarelli_luriechildrens.org#ext#@nuwildcat.onmicrosoft.com::cd79b54d-c14e-4199-a04a-39c6f592e710" providerId="AD" clId="Web-{F448B036-0349-8976-DAC4-88BE6A4E488E}" dt="2023-11-20T04:14:40.108" v="139"/>
        <pc:sldMkLst>
          <pc:docMk/>
          <pc:sldMk cId="3080095507" sldId="703"/>
        </pc:sldMkLst>
      </pc:sldChg>
      <pc:sldChg chg="modSp">
        <pc:chgData name="LCaldarelli" userId="S::lcaldarelli_luriechildrens.org#ext#@nuwildcat.onmicrosoft.com::cd79b54d-c14e-4199-a04a-39c6f592e710" providerId="AD" clId="Web-{F448B036-0349-8976-DAC4-88BE6A4E488E}" dt="2023-11-20T04:01:16.589" v="92" actId="20577"/>
        <pc:sldMkLst>
          <pc:docMk/>
          <pc:sldMk cId="1949613945" sldId="705"/>
        </pc:sldMkLst>
        <pc:spChg chg="mod">
          <ac:chgData name="LCaldarelli" userId="S::lcaldarelli_luriechildrens.org#ext#@nuwildcat.onmicrosoft.com::cd79b54d-c14e-4199-a04a-39c6f592e710" providerId="AD" clId="Web-{F448B036-0349-8976-DAC4-88BE6A4E488E}" dt="2023-11-20T04:01:16.589" v="92" actId="20577"/>
          <ac:spMkLst>
            <pc:docMk/>
            <pc:sldMk cId="1949613945" sldId="705"/>
            <ac:spMk id="2" creationId="{2DE9407A-4283-B111-345C-31D89DFF03A2}"/>
          </ac:spMkLst>
        </pc:spChg>
      </pc:sldChg>
      <pc:sldChg chg="modSp ord">
        <pc:chgData name="LCaldarelli" userId="S::lcaldarelli_luriechildrens.org#ext#@nuwildcat.onmicrosoft.com::cd79b54d-c14e-4199-a04a-39c6f592e710" providerId="AD" clId="Web-{F448B036-0349-8976-DAC4-88BE6A4E488E}" dt="2023-11-20T04:14:01.310" v="134" actId="20577"/>
        <pc:sldMkLst>
          <pc:docMk/>
          <pc:sldMk cId="790635443" sldId="706"/>
        </pc:sldMkLst>
        <pc:spChg chg="mod">
          <ac:chgData name="LCaldarelli" userId="S::lcaldarelli_luriechildrens.org#ext#@nuwildcat.onmicrosoft.com::cd79b54d-c14e-4199-a04a-39c6f592e710" providerId="AD" clId="Web-{F448B036-0349-8976-DAC4-88BE6A4E488E}" dt="2023-11-20T04:09:02.991" v="115" actId="1076"/>
          <ac:spMkLst>
            <pc:docMk/>
            <pc:sldMk cId="790635443" sldId="706"/>
            <ac:spMk id="2" creationId="{00000000-0000-0000-0000-000000000000}"/>
          </ac:spMkLst>
        </pc:spChg>
        <pc:spChg chg="mod">
          <ac:chgData name="LCaldarelli" userId="S::lcaldarelli_luriechildrens.org#ext#@nuwildcat.onmicrosoft.com::cd79b54d-c14e-4199-a04a-39c6f592e710" providerId="AD" clId="Web-{F448B036-0349-8976-DAC4-88BE6A4E488E}" dt="2023-11-20T04:14:01.310" v="134" actId="20577"/>
          <ac:spMkLst>
            <pc:docMk/>
            <pc:sldMk cId="790635443" sldId="706"/>
            <ac:spMk id="3" creationId="{00000000-0000-0000-0000-000000000000}"/>
          </ac:spMkLst>
        </pc:spChg>
      </pc:sldChg>
      <pc:sldChg chg="modSp">
        <pc:chgData name="LCaldarelli" userId="S::lcaldarelli_luriechildrens.org#ext#@nuwildcat.onmicrosoft.com::cd79b54d-c14e-4199-a04a-39c6f592e710" providerId="AD" clId="Web-{F448B036-0349-8976-DAC4-88BE6A4E488E}" dt="2023-11-20T03:57:16.459" v="72" actId="20577"/>
        <pc:sldMkLst>
          <pc:docMk/>
          <pc:sldMk cId="3859034132" sldId="711"/>
        </pc:sldMkLst>
        <pc:spChg chg="mod">
          <ac:chgData name="LCaldarelli" userId="S::lcaldarelli_luriechildrens.org#ext#@nuwildcat.onmicrosoft.com::cd79b54d-c14e-4199-a04a-39c6f592e710" providerId="AD" clId="Web-{F448B036-0349-8976-DAC4-88BE6A4E488E}" dt="2023-11-20T03:57:16.459" v="72" actId="20577"/>
          <ac:spMkLst>
            <pc:docMk/>
            <pc:sldMk cId="3859034132" sldId="711"/>
            <ac:spMk id="3780" creationId="{00000000-0000-0000-0000-000000000000}"/>
          </ac:spMkLst>
        </pc:spChg>
      </pc:sldChg>
      <pc:sldChg chg="modSp">
        <pc:chgData name="LCaldarelli" userId="S::lcaldarelli_luriechildrens.org#ext#@nuwildcat.onmicrosoft.com::cd79b54d-c14e-4199-a04a-39c6f592e710" providerId="AD" clId="Web-{F448B036-0349-8976-DAC4-88BE6A4E488E}" dt="2023-11-20T04:00:05.650" v="86" actId="1076"/>
        <pc:sldMkLst>
          <pc:docMk/>
          <pc:sldMk cId="4179369718" sldId="713"/>
        </pc:sldMkLst>
        <pc:spChg chg="mod">
          <ac:chgData name="LCaldarelli" userId="S::lcaldarelli_luriechildrens.org#ext#@nuwildcat.onmicrosoft.com::cd79b54d-c14e-4199-a04a-39c6f592e710" providerId="AD" clId="Web-{F448B036-0349-8976-DAC4-88BE6A4E488E}" dt="2023-11-20T04:00:05.650" v="86" actId="1076"/>
          <ac:spMkLst>
            <pc:docMk/>
            <pc:sldMk cId="4179369718" sldId="713"/>
            <ac:spMk id="2" creationId="{00000000-0000-0000-0000-000000000000}"/>
          </ac:spMkLst>
        </pc:spChg>
      </pc:sldChg>
      <pc:sldChg chg="modSp">
        <pc:chgData name="LCaldarelli" userId="S::lcaldarelli_luriechildrens.org#ext#@nuwildcat.onmicrosoft.com::cd79b54d-c14e-4199-a04a-39c6f592e710" providerId="AD" clId="Web-{F448B036-0349-8976-DAC4-88BE6A4E488E}" dt="2023-11-20T03:46:52.350" v="0" actId="1076"/>
        <pc:sldMkLst>
          <pc:docMk/>
          <pc:sldMk cId="3124210322" sldId="714"/>
        </pc:sldMkLst>
        <pc:picChg chg="mod">
          <ac:chgData name="LCaldarelli" userId="S::lcaldarelli_luriechildrens.org#ext#@nuwildcat.onmicrosoft.com::cd79b54d-c14e-4199-a04a-39c6f592e710" providerId="AD" clId="Web-{F448B036-0349-8976-DAC4-88BE6A4E488E}" dt="2023-11-20T03:46:52.350" v="0" actId="1076"/>
          <ac:picMkLst>
            <pc:docMk/>
            <pc:sldMk cId="3124210322" sldId="714"/>
            <ac:picMk id="6" creationId="{9EE6AC8F-4DC4-191C-AA4C-B047F4935B19}"/>
          </ac:picMkLst>
        </pc:picChg>
      </pc:sldChg>
      <pc:sldChg chg="modSp">
        <pc:chgData name="LCaldarelli" userId="S::lcaldarelli_luriechildrens.org#ext#@nuwildcat.onmicrosoft.com::cd79b54d-c14e-4199-a04a-39c6f592e710" providerId="AD" clId="Web-{F448B036-0349-8976-DAC4-88BE6A4E488E}" dt="2023-11-20T03:57:02.989" v="71" actId="1076"/>
        <pc:sldMkLst>
          <pc:docMk/>
          <pc:sldMk cId="4091814342" sldId="715"/>
        </pc:sldMkLst>
        <pc:spChg chg="mod">
          <ac:chgData name="LCaldarelli" userId="S::lcaldarelli_luriechildrens.org#ext#@nuwildcat.onmicrosoft.com::cd79b54d-c14e-4199-a04a-39c6f592e710" providerId="AD" clId="Web-{F448B036-0349-8976-DAC4-88BE6A4E488E}" dt="2023-11-20T03:56:53.520" v="70" actId="20577"/>
          <ac:spMkLst>
            <pc:docMk/>
            <pc:sldMk cId="4091814342" sldId="715"/>
            <ac:spMk id="2" creationId="{8802BA79-C4E2-3A24-1316-4AC6D3F66837}"/>
          </ac:spMkLst>
        </pc:spChg>
        <pc:spChg chg="mod">
          <ac:chgData name="LCaldarelli" userId="S::lcaldarelli_luriechildrens.org#ext#@nuwildcat.onmicrosoft.com::cd79b54d-c14e-4199-a04a-39c6f592e710" providerId="AD" clId="Web-{F448B036-0349-8976-DAC4-88BE6A4E488E}" dt="2023-11-20T03:56:34.801" v="69" actId="20577"/>
          <ac:spMkLst>
            <pc:docMk/>
            <pc:sldMk cId="4091814342" sldId="715"/>
            <ac:spMk id="3" creationId="{0608F2C2-83F0-41C5-A0E1-33DE05A98582}"/>
          </ac:spMkLst>
        </pc:spChg>
        <pc:picChg chg="mod">
          <ac:chgData name="LCaldarelli" userId="S::lcaldarelli_luriechildrens.org#ext#@nuwildcat.onmicrosoft.com::cd79b54d-c14e-4199-a04a-39c6f592e710" providerId="AD" clId="Web-{F448B036-0349-8976-DAC4-88BE6A4E488E}" dt="2023-11-20T03:57:02.989" v="71" actId="1076"/>
          <ac:picMkLst>
            <pc:docMk/>
            <pc:sldMk cId="4091814342" sldId="715"/>
            <ac:picMk id="6" creationId="{302BBFF9-D69A-D1E9-E01C-7C15E1F6D1A6}"/>
          </ac:picMkLst>
        </pc:picChg>
      </pc:sldChg>
      <pc:sldChg chg="modSp">
        <pc:chgData name="LCaldarelli" userId="S::lcaldarelli_luriechildrens.org#ext#@nuwildcat.onmicrosoft.com::cd79b54d-c14e-4199-a04a-39c6f592e710" providerId="AD" clId="Web-{F448B036-0349-8976-DAC4-88BE6A4E488E}" dt="2023-11-20T04:43:12.182" v="268" actId="20577"/>
        <pc:sldMkLst>
          <pc:docMk/>
          <pc:sldMk cId="920926381" sldId="718"/>
        </pc:sldMkLst>
        <pc:spChg chg="mod">
          <ac:chgData name="LCaldarelli" userId="S::lcaldarelli_luriechildrens.org#ext#@nuwildcat.onmicrosoft.com::cd79b54d-c14e-4199-a04a-39c6f592e710" providerId="AD" clId="Web-{F448B036-0349-8976-DAC4-88BE6A4E488E}" dt="2023-11-20T04:43:12.182" v="268" actId="20577"/>
          <ac:spMkLst>
            <pc:docMk/>
            <pc:sldMk cId="920926381" sldId="718"/>
            <ac:spMk id="7" creationId="{C4CE6283-A808-AE07-353B-1EEB0D5BF6FD}"/>
          </ac:spMkLst>
        </pc:spChg>
      </pc:sldChg>
      <pc:sldChg chg="modSp">
        <pc:chgData name="LCaldarelli" userId="S::lcaldarelli_luriechildrens.org#ext#@nuwildcat.onmicrosoft.com::cd79b54d-c14e-4199-a04a-39c6f592e710" providerId="AD" clId="Web-{F448B036-0349-8976-DAC4-88BE6A4E488E}" dt="2023-11-20T04:40:05.381" v="266" actId="20577"/>
        <pc:sldMkLst>
          <pc:docMk/>
          <pc:sldMk cId="97208790" sldId="723"/>
        </pc:sldMkLst>
        <pc:spChg chg="mod">
          <ac:chgData name="LCaldarelli" userId="S::lcaldarelli_luriechildrens.org#ext#@nuwildcat.onmicrosoft.com::cd79b54d-c14e-4199-a04a-39c6f592e710" providerId="AD" clId="Web-{F448B036-0349-8976-DAC4-88BE6A4E488E}" dt="2023-11-20T04:40:05.381" v="266" actId="20577"/>
          <ac:spMkLst>
            <pc:docMk/>
            <pc:sldMk cId="97208790" sldId="723"/>
            <ac:spMk id="8" creationId="{24CD5883-74F0-901B-1AE1-A53D4170658C}"/>
          </ac:spMkLst>
        </pc:spChg>
        <pc:spChg chg="mod">
          <ac:chgData name="LCaldarelli" userId="S::lcaldarelli_luriechildrens.org#ext#@nuwildcat.onmicrosoft.com::cd79b54d-c14e-4199-a04a-39c6f592e710" providerId="AD" clId="Web-{F448B036-0349-8976-DAC4-88BE6A4E488E}" dt="2023-11-20T04:39:32.318" v="262" actId="20577"/>
          <ac:spMkLst>
            <pc:docMk/>
            <pc:sldMk cId="97208790" sldId="723"/>
            <ac:spMk id="10" creationId="{8BCC0F5C-3791-38AB-6A34-E5D5FCAACFCB}"/>
          </ac:spMkLst>
        </pc:spChg>
        <pc:picChg chg="mod">
          <ac:chgData name="LCaldarelli" userId="S::lcaldarelli_luriechildrens.org#ext#@nuwildcat.onmicrosoft.com::cd79b54d-c14e-4199-a04a-39c6f592e710" providerId="AD" clId="Web-{F448B036-0349-8976-DAC4-88BE6A4E488E}" dt="2023-11-20T04:39:45.646" v="263" actId="1076"/>
          <ac:picMkLst>
            <pc:docMk/>
            <pc:sldMk cId="97208790" sldId="723"/>
            <ac:picMk id="17" creationId="{1E6C1ABD-FF6C-3DED-E717-DF57CD6F7C44}"/>
          </ac:picMkLst>
        </pc:picChg>
      </pc:sldChg>
      <pc:sldChg chg="modSp">
        <pc:chgData name="LCaldarelli" userId="S::lcaldarelli_luriechildrens.org#ext#@nuwildcat.onmicrosoft.com::cd79b54d-c14e-4199-a04a-39c6f592e710" providerId="AD" clId="Web-{F448B036-0349-8976-DAC4-88BE6A4E488E}" dt="2023-11-20T04:39:12.005" v="258" actId="20577"/>
        <pc:sldMkLst>
          <pc:docMk/>
          <pc:sldMk cId="2422191514" sldId="724"/>
        </pc:sldMkLst>
        <pc:spChg chg="mod">
          <ac:chgData name="LCaldarelli" userId="S::lcaldarelli_luriechildrens.org#ext#@nuwildcat.onmicrosoft.com::cd79b54d-c14e-4199-a04a-39c6f592e710" providerId="AD" clId="Web-{F448B036-0349-8976-DAC4-88BE6A4E488E}" dt="2023-11-20T04:39:12.005" v="258" actId="20577"/>
          <ac:spMkLst>
            <pc:docMk/>
            <pc:sldMk cId="2422191514" sldId="724"/>
            <ac:spMk id="3" creationId="{CF76BAF3-0D68-BE52-7B63-AF42CBFD04CB}"/>
          </ac:spMkLst>
        </pc:spChg>
        <pc:spChg chg="mod">
          <ac:chgData name="LCaldarelli" userId="S::lcaldarelli_luriechildrens.org#ext#@nuwildcat.onmicrosoft.com::cd79b54d-c14e-4199-a04a-39c6f592e710" providerId="AD" clId="Web-{F448B036-0349-8976-DAC4-88BE6A4E488E}" dt="2023-11-20T04:38:26.660" v="251" actId="20577"/>
          <ac:spMkLst>
            <pc:docMk/>
            <pc:sldMk cId="2422191514" sldId="724"/>
            <ac:spMk id="7" creationId="{B36D3553-B1A4-1B35-3CEF-32DDF6A472CD}"/>
          </ac:spMkLst>
        </pc:spChg>
        <pc:spChg chg="mod">
          <ac:chgData name="LCaldarelli" userId="S::lcaldarelli_luriechildrens.org#ext#@nuwildcat.onmicrosoft.com::cd79b54d-c14e-4199-a04a-39c6f592e710" providerId="AD" clId="Web-{F448B036-0349-8976-DAC4-88BE6A4E488E}" dt="2023-11-20T04:38:08.269" v="249" actId="20577"/>
          <ac:spMkLst>
            <pc:docMk/>
            <pc:sldMk cId="2422191514" sldId="724"/>
            <ac:spMk id="12" creationId="{78126F38-8B56-6129-962F-5469035C8159}"/>
          </ac:spMkLst>
        </pc:spChg>
      </pc:sldChg>
      <pc:sldChg chg="modSp">
        <pc:chgData name="LCaldarelli" userId="S::lcaldarelli_luriechildrens.org#ext#@nuwildcat.onmicrosoft.com::cd79b54d-c14e-4199-a04a-39c6f592e710" providerId="AD" clId="Web-{F448B036-0349-8976-DAC4-88BE6A4E488E}" dt="2023-11-20T04:35:41.403" v="247" actId="20577"/>
        <pc:sldMkLst>
          <pc:docMk/>
          <pc:sldMk cId="3458386910" sldId="725"/>
        </pc:sldMkLst>
        <pc:spChg chg="mod">
          <ac:chgData name="LCaldarelli" userId="S::lcaldarelli_luriechildrens.org#ext#@nuwildcat.onmicrosoft.com::cd79b54d-c14e-4199-a04a-39c6f592e710" providerId="AD" clId="Web-{F448B036-0349-8976-DAC4-88BE6A4E488E}" dt="2023-11-20T04:35:22.293" v="245" actId="20577"/>
          <ac:spMkLst>
            <pc:docMk/>
            <pc:sldMk cId="3458386910" sldId="725"/>
            <ac:spMk id="3" creationId="{E820A2E4-4F18-6799-9BD9-B308061CC76C}"/>
          </ac:spMkLst>
        </pc:spChg>
        <pc:spChg chg="mod">
          <ac:chgData name="LCaldarelli" userId="S::lcaldarelli_luriechildrens.org#ext#@nuwildcat.onmicrosoft.com::cd79b54d-c14e-4199-a04a-39c6f592e710" providerId="AD" clId="Web-{F448B036-0349-8976-DAC4-88BE6A4E488E}" dt="2023-11-20T04:35:41.403" v="247" actId="20577"/>
          <ac:spMkLst>
            <pc:docMk/>
            <pc:sldMk cId="3458386910" sldId="725"/>
            <ac:spMk id="6" creationId="{ADFC1F5A-A2FF-8C65-F763-941E2E4DFF8C}"/>
          </ac:spMkLst>
        </pc:spChg>
        <pc:spChg chg="mod">
          <ac:chgData name="LCaldarelli" userId="S::lcaldarelli_luriechildrens.org#ext#@nuwildcat.onmicrosoft.com::cd79b54d-c14e-4199-a04a-39c6f592e710" providerId="AD" clId="Web-{F448B036-0349-8976-DAC4-88BE6A4E488E}" dt="2023-11-20T04:35:11.996" v="242" actId="20577"/>
          <ac:spMkLst>
            <pc:docMk/>
            <pc:sldMk cId="3458386910" sldId="725"/>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33:54.276" v="214" actId="1076"/>
        <pc:sldMkLst>
          <pc:docMk/>
          <pc:sldMk cId="1390059426" sldId="726"/>
        </pc:sldMkLst>
        <pc:spChg chg="mod">
          <ac:chgData name="LCaldarelli" userId="S::lcaldarelli_luriechildrens.org#ext#@nuwildcat.onmicrosoft.com::cd79b54d-c14e-4199-a04a-39c6f592e710" providerId="AD" clId="Web-{F448B036-0349-8976-DAC4-88BE6A4E488E}" dt="2023-11-20T04:32:42.227" v="211" actId="20577"/>
          <ac:spMkLst>
            <pc:docMk/>
            <pc:sldMk cId="1390059426" sldId="726"/>
            <ac:spMk id="25" creationId="{6DD46D80-F576-4F56-C047-1645F85E88F8}"/>
          </ac:spMkLst>
        </pc:spChg>
        <pc:spChg chg="mod">
          <ac:chgData name="LCaldarelli" userId="S::lcaldarelli_luriechildrens.org#ext#@nuwildcat.onmicrosoft.com::cd79b54d-c14e-4199-a04a-39c6f592e710" providerId="AD" clId="Web-{F448B036-0349-8976-DAC4-88BE6A4E488E}" dt="2023-11-20T04:32:52.227" v="213" actId="20577"/>
          <ac:spMkLst>
            <pc:docMk/>
            <pc:sldMk cId="1390059426" sldId="726"/>
            <ac:spMk id="26" creationId="{585B113D-37B0-A626-E412-E3D462910528}"/>
          </ac:spMkLst>
        </pc:spChg>
        <pc:spChg chg="mod">
          <ac:chgData name="LCaldarelli" userId="S::lcaldarelli_luriechildrens.org#ext#@nuwildcat.onmicrosoft.com::cd79b54d-c14e-4199-a04a-39c6f592e710" providerId="AD" clId="Web-{F448B036-0349-8976-DAC4-88BE6A4E488E}" dt="2023-11-20T04:33:54.276" v="214" actId="1076"/>
          <ac:spMkLst>
            <pc:docMk/>
            <pc:sldMk cId="1390059426" sldId="726"/>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1:57.570" v="210" actId="1076"/>
        <pc:sldMkLst>
          <pc:docMk/>
          <pc:sldMk cId="3339906105" sldId="727"/>
        </pc:sldMkLst>
        <pc:spChg chg="mod">
          <ac:chgData name="LCaldarelli" userId="S::lcaldarelli_luriechildrens.org#ext#@nuwildcat.onmicrosoft.com::cd79b54d-c14e-4199-a04a-39c6f592e710" providerId="AD" clId="Web-{F448B036-0349-8976-DAC4-88BE6A4E488E}" dt="2023-11-20T04:31:57.570" v="210" actId="1076"/>
          <ac:spMkLst>
            <pc:docMk/>
            <pc:sldMk cId="3339906105" sldId="727"/>
            <ac:spMk id="25" creationId="{6DD46D80-F576-4F56-C047-1645F85E88F8}"/>
          </ac:spMkLst>
        </pc:spChg>
        <pc:spChg chg="mod">
          <ac:chgData name="LCaldarelli" userId="S::lcaldarelli_luriechildrens.org#ext#@nuwildcat.onmicrosoft.com::cd79b54d-c14e-4199-a04a-39c6f592e710" providerId="AD" clId="Web-{F448B036-0349-8976-DAC4-88BE6A4E488E}" dt="2023-11-20T04:31:45.445" v="209" actId="20577"/>
          <ac:spMkLst>
            <pc:docMk/>
            <pc:sldMk cId="3339906105" sldId="727"/>
            <ac:spMk id="26" creationId="{585B113D-37B0-A626-E412-E3D462910528}"/>
          </ac:spMkLst>
        </pc:spChg>
        <pc:spChg chg="mod">
          <ac:chgData name="LCaldarelli" userId="S::lcaldarelli_luriechildrens.org#ext#@nuwildcat.onmicrosoft.com::cd79b54d-c14e-4199-a04a-39c6f592e710" providerId="AD" clId="Web-{F448B036-0349-8976-DAC4-88BE6A4E488E}" dt="2023-11-20T04:31:12.631" v="206" actId="1076"/>
          <ac:spMkLst>
            <pc:docMk/>
            <pc:sldMk cId="3339906105" sldId="727"/>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0:28.411" v="205" actId="1076"/>
        <pc:sldMkLst>
          <pc:docMk/>
          <pc:sldMk cId="2917591221" sldId="728"/>
        </pc:sldMkLst>
        <pc:spChg chg="mod">
          <ac:chgData name="LCaldarelli" userId="S::lcaldarelli_luriechildrens.org#ext#@nuwildcat.onmicrosoft.com::cd79b54d-c14e-4199-a04a-39c6f592e710" providerId="AD" clId="Web-{F448B036-0349-8976-DAC4-88BE6A4E488E}" dt="2023-11-20T04:29:36.551" v="204" actId="1076"/>
          <ac:spMkLst>
            <pc:docMk/>
            <pc:sldMk cId="2917591221" sldId="728"/>
            <ac:spMk id="2" creationId="{626EF7A8-30AC-3AF9-E10B-D7595223D641}"/>
          </ac:spMkLst>
        </pc:spChg>
        <pc:spChg chg="mod">
          <ac:chgData name="LCaldarelli" userId="S::lcaldarelli_luriechildrens.org#ext#@nuwildcat.onmicrosoft.com::cd79b54d-c14e-4199-a04a-39c6f592e710" providerId="AD" clId="Web-{F448B036-0349-8976-DAC4-88BE6A4E488E}" dt="2023-11-20T04:30:28.411" v="205" actId="1076"/>
          <ac:spMkLst>
            <pc:docMk/>
            <pc:sldMk cId="2917591221" sldId="728"/>
            <ac:spMk id="49" creationId="{1B4056B3-3D40-2836-5998-C6A461A209D5}"/>
          </ac:spMkLst>
        </pc:spChg>
      </pc:sldChg>
      <pc:sldChg chg="modSp">
        <pc:chgData name="LCaldarelli" userId="S::lcaldarelli_luriechildrens.org#ext#@nuwildcat.onmicrosoft.com::cd79b54d-c14e-4199-a04a-39c6f592e710" providerId="AD" clId="Web-{F448B036-0349-8976-DAC4-88BE6A4E488E}" dt="2023-11-20T04:27:26.157" v="194" actId="20577"/>
        <pc:sldMkLst>
          <pc:docMk/>
          <pc:sldMk cId="1617559145" sldId="730"/>
        </pc:sldMkLst>
        <pc:spChg chg="mod">
          <ac:chgData name="LCaldarelli" userId="S::lcaldarelli_luriechildrens.org#ext#@nuwildcat.onmicrosoft.com::cd79b54d-c14e-4199-a04a-39c6f592e710" providerId="AD" clId="Web-{F448B036-0349-8976-DAC4-88BE6A4E488E}" dt="2023-11-20T04:27:26.157" v="194" actId="20577"/>
          <ac:spMkLst>
            <pc:docMk/>
            <pc:sldMk cId="1617559145" sldId="730"/>
            <ac:spMk id="2" creationId="{BB53F377-28A9-F2D5-76A8-8CDE2A9E7535}"/>
          </ac:spMkLst>
        </pc:spChg>
      </pc:sldChg>
      <pc:sldChg chg="modSp">
        <pc:chgData name="LCaldarelli" userId="S::lcaldarelli_luriechildrens.org#ext#@nuwildcat.onmicrosoft.com::cd79b54d-c14e-4199-a04a-39c6f592e710" providerId="AD" clId="Web-{F448B036-0349-8976-DAC4-88BE6A4E488E}" dt="2023-11-20T04:26:25.531" v="184" actId="20577"/>
        <pc:sldMkLst>
          <pc:docMk/>
          <pc:sldMk cId="2888392633" sldId="731"/>
        </pc:sldMkLst>
        <pc:spChg chg="mod">
          <ac:chgData name="LCaldarelli" userId="S::lcaldarelli_luriechildrens.org#ext#@nuwildcat.onmicrosoft.com::cd79b54d-c14e-4199-a04a-39c6f592e710" providerId="AD" clId="Web-{F448B036-0349-8976-DAC4-88BE6A4E488E}" dt="2023-11-20T04:26:25.531" v="184" actId="20577"/>
          <ac:spMkLst>
            <pc:docMk/>
            <pc:sldMk cId="2888392633" sldId="731"/>
            <ac:spMk id="4" creationId="{EA09FBC4-EFF6-9AB4-25A1-D6ED252CED0D}"/>
          </ac:spMkLst>
        </pc:spChg>
      </pc:sldChg>
      <pc:sldChg chg="modSp">
        <pc:chgData name="LCaldarelli" userId="S::lcaldarelli_luriechildrens.org#ext#@nuwildcat.onmicrosoft.com::cd79b54d-c14e-4199-a04a-39c6f592e710" providerId="AD" clId="Web-{F448B036-0349-8976-DAC4-88BE6A4E488E}" dt="2023-11-20T04:24:01.434" v="167" actId="20577"/>
        <pc:sldMkLst>
          <pc:docMk/>
          <pc:sldMk cId="1046854343" sldId="732"/>
        </pc:sldMkLst>
        <pc:spChg chg="mod">
          <ac:chgData name="LCaldarelli" userId="S::lcaldarelli_luriechildrens.org#ext#@nuwildcat.onmicrosoft.com::cd79b54d-c14e-4199-a04a-39c6f592e710" providerId="AD" clId="Web-{F448B036-0349-8976-DAC4-88BE6A4E488E}" dt="2023-11-20T04:24:01.434" v="167" actId="20577"/>
          <ac:spMkLst>
            <pc:docMk/>
            <pc:sldMk cId="1046854343" sldId="732"/>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3:01.464" v="163" actId="1076"/>
        <pc:sldMkLst>
          <pc:docMk/>
          <pc:sldMk cId="1800188643" sldId="733"/>
        </pc:sldMkLst>
        <pc:spChg chg="mod">
          <ac:chgData name="LCaldarelli" userId="S::lcaldarelli_luriechildrens.org#ext#@nuwildcat.onmicrosoft.com::cd79b54d-c14e-4199-a04a-39c6f592e710" providerId="AD" clId="Web-{F448B036-0349-8976-DAC4-88BE6A4E488E}" dt="2023-11-20T04:22:28.666" v="162" actId="1076"/>
          <ac:spMkLst>
            <pc:docMk/>
            <pc:sldMk cId="1800188643" sldId="733"/>
            <ac:spMk id="7" creationId="{EAD90045-A731-42F5-ED3E-D5AE61B97B24}"/>
          </ac:spMkLst>
        </pc:spChg>
        <pc:spChg chg="mod">
          <ac:chgData name="LCaldarelli" userId="S::lcaldarelli_luriechildrens.org#ext#@nuwildcat.onmicrosoft.com::cd79b54d-c14e-4199-a04a-39c6f592e710" providerId="AD" clId="Web-{F448B036-0349-8976-DAC4-88BE6A4E488E}" dt="2023-11-20T04:23:01.464" v="163" actId="1076"/>
          <ac:spMkLst>
            <pc:docMk/>
            <pc:sldMk cId="1800188643" sldId="733"/>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2:18.556" v="161" actId="20577"/>
        <pc:sldMkLst>
          <pc:docMk/>
          <pc:sldMk cId="2965389356" sldId="734"/>
        </pc:sldMkLst>
        <pc:spChg chg="mod">
          <ac:chgData name="LCaldarelli" userId="S::lcaldarelli_luriechildrens.org#ext#@nuwildcat.onmicrosoft.com::cd79b54d-c14e-4199-a04a-39c6f592e710" providerId="AD" clId="Web-{F448B036-0349-8976-DAC4-88BE6A4E488E}" dt="2023-11-20T04:22:18.556" v="161" actId="20577"/>
          <ac:spMkLst>
            <pc:docMk/>
            <pc:sldMk cId="2965389356" sldId="734"/>
            <ac:spMk id="7" creationId="{EAD90045-A731-42F5-ED3E-D5AE61B97B24}"/>
          </ac:spMkLst>
        </pc:spChg>
        <pc:spChg chg="mod">
          <ac:chgData name="LCaldarelli" userId="S::lcaldarelli_luriechildrens.org#ext#@nuwildcat.onmicrosoft.com::cd79b54d-c14e-4199-a04a-39c6f592e710" providerId="AD" clId="Web-{F448B036-0349-8976-DAC4-88BE6A4E488E}" dt="2023-11-20T04:21:20.430" v="156" actId="1076"/>
          <ac:spMkLst>
            <pc:docMk/>
            <pc:sldMk cId="2965389356" sldId="734"/>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5:01:58.052" v="316" actId="20577"/>
        <pc:sldMkLst>
          <pc:docMk/>
          <pc:sldMk cId="1811019117" sldId="736"/>
        </pc:sldMkLst>
        <pc:graphicFrameChg chg="modGraphic">
          <ac:chgData name="LCaldarelli" userId="S::lcaldarelli_luriechildrens.org#ext#@nuwildcat.onmicrosoft.com::cd79b54d-c14e-4199-a04a-39c6f592e710" providerId="AD" clId="Web-{F448B036-0349-8976-DAC4-88BE6A4E488E}" dt="2023-11-20T05:01:58.052" v="316" actId="20577"/>
          <ac:graphicFrameMkLst>
            <pc:docMk/>
            <pc:sldMk cId="1811019117" sldId="736"/>
            <ac:graphicFrameMk id="7" creationId="{7A2359A2-13A0-13F8-9703-E546D92B0B98}"/>
          </ac:graphicFrameMkLst>
        </pc:graphicFrameChg>
      </pc:sldChg>
      <pc:sldChg chg="delSp modSp add del">
        <pc:chgData name="LCaldarelli" userId="S::lcaldarelli_luriechildrens.org#ext#@nuwildcat.onmicrosoft.com::cd79b54d-c14e-4199-a04a-39c6f592e710" providerId="AD" clId="Web-{F448B036-0349-8976-DAC4-88BE6A4E488E}" dt="2023-11-20T03:56:21.535" v="68"/>
        <pc:sldMkLst>
          <pc:docMk/>
          <pc:sldMk cId="1186349951" sldId="738"/>
        </pc:sldMkLst>
        <pc:spChg chg="mod">
          <ac:chgData name="LCaldarelli" userId="S::lcaldarelli_luriechildrens.org#ext#@nuwildcat.onmicrosoft.com::cd79b54d-c14e-4199-a04a-39c6f592e710" providerId="AD" clId="Web-{F448B036-0349-8976-DAC4-88BE6A4E488E}" dt="2023-11-20T03:55:29.003" v="60" actId="20577"/>
          <ac:spMkLst>
            <pc:docMk/>
            <pc:sldMk cId="1186349951" sldId="738"/>
            <ac:spMk id="2" creationId="{00000000-0000-0000-0000-000000000000}"/>
          </ac:spMkLst>
        </pc:spChg>
        <pc:spChg chg="mod">
          <ac:chgData name="LCaldarelli" userId="S::lcaldarelli_luriechildrens.org#ext#@nuwildcat.onmicrosoft.com::cd79b54d-c14e-4199-a04a-39c6f592e710" providerId="AD" clId="Web-{F448B036-0349-8976-DAC4-88BE6A4E488E}" dt="2023-11-20T03:50:19.402" v="14" actId="20577"/>
          <ac:spMkLst>
            <pc:docMk/>
            <pc:sldMk cId="1186349951" sldId="738"/>
            <ac:spMk id="3" creationId="{00000000-0000-0000-0000-000000000000}"/>
          </ac:spMkLst>
        </pc:spChg>
        <pc:spChg chg="del mod">
          <ac:chgData name="LCaldarelli" userId="S::lcaldarelli_luriechildrens.org#ext#@nuwildcat.onmicrosoft.com::cd79b54d-c14e-4199-a04a-39c6f592e710" providerId="AD" clId="Web-{F448B036-0349-8976-DAC4-88BE6A4E488E}" dt="2023-11-20T03:51:08.622" v="20"/>
          <ac:spMkLst>
            <pc:docMk/>
            <pc:sldMk cId="1186349951" sldId="738"/>
            <ac:spMk id="7" creationId="{C8F58F52-0A70-3681-BB65-8A08E7169DEB}"/>
          </ac:spMkLst>
        </pc:spChg>
        <pc:picChg chg="mod">
          <ac:chgData name="LCaldarelli" userId="S::lcaldarelli_luriechildrens.org#ext#@nuwildcat.onmicrosoft.com::cd79b54d-c14e-4199-a04a-39c6f592e710" providerId="AD" clId="Web-{F448B036-0349-8976-DAC4-88BE6A4E488E}" dt="2023-11-20T03:49:08.088" v="4" actId="1076"/>
          <ac:picMkLst>
            <pc:docMk/>
            <pc:sldMk cId="1186349951" sldId="738"/>
            <ac:picMk id="5" creationId="{2E1F6A1B-373A-C0EC-B7AA-45256FC2D7CF}"/>
          </ac:picMkLst>
        </pc:picChg>
        <pc:picChg chg="del">
          <ac:chgData name="LCaldarelli" userId="S::lcaldarelli_luriechildrens.org#ext#@nuwildcat.onmicrosoft.com::cd79b54d-c14e-4199-a04a-39c6f592e710" providerId="AD" clId="Web-{F448B036-0349-8976-DAC4-88BE6A4E488E}" dt="2023-11-20T03:48:58.369" v="2"/>
          <ac:picMkLst>
            <pc:docMk/>
            <pc:sldMk cId="1186349951" sldId="738"/>
            <ac:picMk id="6" creationId="{444A105F-3B91-8DA6-ABE2-6E9593561122}"/>
          </ac:picMkLst>
        </pc:picChg>
      </pc:sldChg>
      <pc:sldChg chg="new del">
        <pc:chgData name="LCaldarelli" userId="S::lcaldarelli_luriechildrens.org#ext#@nuwildcat.onmicrosoft.com::cd79b54d-c14e-4199-a04a-39c6f592e710" providerId="AD" clId="Web-{F448B036-0349-8976-DAC4-88BE6A4E488E}" dt="2023-11-20T03:53:21.422" v="34"/>
        <pc:sldMkLst>
          <pc:docMk/>
          <pc:sldMk cId="2564591416" sldId="739"/>
        </pc:sldMkLst>
      </pc:sldChg>
      <pc:sldChg chg="addSp delSp modSp new">
        <pc:chgData name="LCaldarelli" userId="S::lcaldarelli_luriechildrens.org#ext#@nuwildcat.onmicrosoft.com::cd79b54d-c14e-4199-a04a-39c6f592e710" providerId="AD" clId="Web-{F448B036-0349-8976-DAC4-88BE6A4E488E}" dt="2023-11-20T03:59:22.790" v="82" actId="20577"/>
        <pc:sldMkLst>
          <pc:docMk/>
          <pc:sldMk cId="3241722567" sldId="740"/>
        </pc:sldMkLst>
        <pc:spChg chg="mod">
          <ac:chgData name="LCaldarelli" userId="S::lcaldarelli_luriechildrens.org#ext#@nuwildcat.onmicrosoft.com::cd79b54d-c14e-4199-a04a-39c6f592e710" providerId="AD" clId="Web-{F448B036-0349-8976-DAC4-88BE6A4E488E}" dt="2023-11-20T03:56:10.348" v="67" actId="1076"/>
          <ac:spMkLst>
            <pc:docMk/>
            <pc:sldMk cId="3241722567" sldId="740"/>
            <ac:spMk id="2" creationId="{D24FB2C5-4B3C-7E91-CA87-3073F37E77A6}"/>
          </ac:spMkLst>
        </pc:spChg>
        <pc:spChg chg="del">
          <ac:chgData name="LCaldarelli" userId="S::lcaldarelli_luriechildrens.org#ext#@nuwildcat.onmicrosoft.com::cd79b54d-c14e-4199-a04a-39c6f592e710" providerId="AD" clId="Web-{F448B036-0349-8976-DAC4-88BE6A4E488E}" dt="2023-11-20T03:53:34.719" v="35"/>
          <ac:spMkLst>
            <pc:docMk/>
            <pc:sldMk cId="3241722567" sldId="740"/>
            <ac:spMk id="3" creationId="{9812BD77-B078-C023-43DC-8C34F9A3A718}"/>
          </ac:spMkLst>
        </pc:spChg>
        <pc:spChg chg="add mod">
          <ac:chgData name="LCaldarelli" userId="S::lcaldarelli_luriechildrens.org#ext#@nuwildcat.onmicrosoft.com::cd79b54d-c14e-4199-a04a-39c6f592e710" providerId="AD" clId="Web-{F448B036-0349-8976-DAC4-88BE6A4E488E}" dt="2023-11-20T03:59:22.790" v="82" actId="20577"/>
          <ac:spMkLst>
            <pc:docMk/>
            <pc:sldMk cId="3241722567" sldId="740"/>
            <ac:spMk id="8" creationId="{D5D1F0C8-27BB-1F4F-9B28-F7D9F4C8AE47}"/>
          </ac:spMkLst>
        </pc:spChg>
        <pc:picChg chg="add del mod ord">
          <ac:chgData name="LCaldarelli" userId="S::lcaldarelli_luriechildrens.org#ext#@nuwildcat.onmicrosoft.com::cd79b54d-c14e-4199-a04a-39c6f592e710" providerId="AD" clId="Web-{F448B036-0349-8976-DAC4-88BE6A4E488E}" dt="2023-11-20T03:53:44.751" v="36"/>
          <ac:picMkLst>
            <pc:docMk/>
            <pc:sldMk cId="3241722567" sldId="740"/>
            <ac:picMk id="6" creationId="{6A2DB26E-6744-46D7-9B18-327790791C96}"/>
          </ac:picMkLst>
        </pc:picChg>
        <pc:picChg chg="add mod">
          <ac:chgData name="LCaldarelli" userId="S::lcaldarelli_luriechildrens.org#ext#@nuwildcat.onmicrosoft.com::cd79b54d-c14e-4199-a04a-39c6f592e710" providerId="AD" clId="Web-{F448B036-0349-8976-DAC4-88BE6A4E488E}" dt="2023-11-20T03:54:36.861" v="41" actId="1076"/>
          <ac:picMkLst>
            <pc:docMk/>
            <pc:sldMk cId="3241722567" sldId="740"/>
            <ac:picMk id="10" creationId="{27AD21F3-6E15-AA0D-7CE8-DF86AF6A9758}"/>
          </ac:picMkLst>
        </pc:picChg>
      </pc:sldChg>
      <pc:sldChg chg="add replId">
        <pc:chgData name="LCaldarelli" userId="S::lcaldarelli_luriechildrens.org#ext#@nuwildcat.onmicrosoft.com::cd79b54d-c14e-4199-a04a-39c6f592e710" providerId="AD" clId="Web-{F448B036-0349-8976-DAC4-88BE6A4E488E}" dt="2023-11-20T04:44:50.075" v="270"/>
        <pc:sldMkLst>
          <pc:docMk/>
          <pc:sldMk cId="3838522428" sldId="741"/>
        </pc:sldMkLst>
      </pc:sldChg>
      <pc:sldChg chg="modSp add replId">
        <pc:chgData name="LCaldarelli" userId="S::lcaldarelli_luriechildrens.org#ext#@nuwildcat.onmicrosoft.com::cd79b54d-c14e-4199-a04a-39c6f592e710" providerId="AD" clId="Web-{F448B036-0349-8976-DAC4-88BE6A4E488E}" dt="2023-11-20T04:46:55.750" v="287" actId="14100"/>
        <pc:sldMkLst>
          <pc:docMk/>
          <pc:sldMk cId="2759565514" sldId="742"/>
        </pc:sldMkLst>
        <pc:spChg chg="mod">
          <ac:chgData name="LCaldarelli" userId="S::lcaldarelli_luriechildrens.org#ext#@nuwildcat.onmicrosoft.com::cd79b54d-c14e-4199-a04a-39c6f592e710" providerId="AD" clId="Web-{F448B036-0349-8976-DAC4-88BE6A4E488E}" dt="2023-11-20T04:46:55.750" v="287" actId="14100"/>
          <ac:spMkLst>
            <pc:docMk/>
            <pc:sldMk cId="2759565514" sldId="742"/>
            <ac:spMk id="2180" creationId="{00000000-0000-0000-0000-000000000000}"/>
          </ac:spMkLst>
        </pc:spChg>
      </pc:sldChg>
      <pc:sldChg chg="modSp add ord replId">
        <pc:chgData name="LCaldarelli" userId="S::lcaldarelli_luriechildrens.org#ext#@nuwildcat.onmicrosoft.com::cd79b54d-c14e-4199-a04a-39c6f592e710" providerId="AD" clId="Web-{F448B036-0349-8976-DAC4-88BE6A4E488E}" dt="2023-11-20T04:47:59.345" v="290" actId="1076"/>
        <pc:sldMkLst>
          <pc:docMk/>
          <pc:sldMk cId="1077647041" sldId="743"/>
        </pc:sldMkLst>
        <pc:spChg chg="mod">
          <ac:chgData name="LCaldarelli" userId="S::lcaldarelli_luriechildrens.org#ext#@nuwildcat.onmicrosoft.com::cd79b54d-c14e-4199-a04a-39c6f592e710" providerId="AD" clId="Web-{F448B036-0349-8976-DAC4-88BE6A4E488E}" dt="2023-11-20T04:47:59.345" v="290" actId="1076"/>
          <ac:spMkLst>
            <pc:docMk/>
            <pc:sldMk cId="1077647041" sldId="743"/>
            <ac:spMk id="23" creationId="{78B5A3B7-0107-74A6-42BE-EFADF14BEC3D}"/>
          </ac:spMkLst>
        </pc:spChg>
      </pc:sldChg>
      <pc:sldChg chg="add replId">
        <pc:chgData name="LCaldarelli" userId="S::lcaldarelli_luriechildrens.org#ext#@nuwildcat.onmicrosoft.com::cd79b54d-c14e-4199-a04a-39c6f592e710" providerId="AD" clId="Web-{F448B036-0349-8976-DAC4-88BE6A4E488E}" dt="2023-11-20T05:00:10.909" v="312"/>
        <pc:sldMkLst>
          <pc:docMk/>
          <pc:sldMk cId="2424722352" sldId="744"/>
        </pc:sldMkLst>
      </pc:sldChg>
    </pc:docChg>
  </pc:docChgLst>
  <pc:docChgLst>
    <pc:chgData name="Alana Rivera" userId="S::arg3669@ads.northwestern.edu::fc8b707a-b7e9-4f2a-8d71-2d76819b7881" providerId="AD" clId="Web-{35DF06BD-25AA-054F-4D8F-840FED1FA1E6}"/>
    <pc:docChg chg="modSld">
      <pc:chgData name="Alana Rivera" userId="S::arg3669@ads.northwestern.edu::fc8b707a-b7e9-4f2a-8d71-2d76819b7881" providerId="AD" clId="Web-{35DF06BD-25AA-054F-4D8F-840FED1FA1E6}" dt="2023-10-31T02:20:39.446" v="1" actId="20577"/>
      <pc:docMkLst>
        <pc:docMk/>
      </pc:docMkLst>
      <pc:sldChg chg="modSp">
        <pc:chgData name="Alana Rivera" userId="S::arg3669@ads.northwestern.edu::fc8b707a-b7e9-4f2a-8d71-2d76819b7881" providerId="AD" clId="Web-{35DF06BD-25AA-054F-4D8F-840FED1FA1E6}" dt="2023-10-31T02:20:39.446" v="1" actId="20577"/>
        <pc:sldMkLst>
          <pc:docMk/>
          <pc:sldMk cId="1522616096" sldId="555"/>
        </pc:sldMkLst>
        <pc:spChg chg="mod">
          <ac:chgData name="Alana Rivera" userId="S::arg3669@ads.northwestern.edu::fc8b707a-b7e9-4f2a-8d71-2d76819b7881" providerId="AD" clId="Web-{35DF06BD-25AA-054F-4D8F-840FED1FA1E6}" dt="2023-10-31T02:20:39.446" v="1" actId="20577"/>
          <ac:spMkLst>
            <pc:docMk/>
            <pc:sldMk cId="1522616096" sldId="555"/>
            <ac:spMk id="4" creationId="{3D49CA6C-78ED-3124-7EE3-BBDDC9988910}"/>
          </ac:spMkLst>
        </pc:spChg>
      </pc:sldChg>
    </pc:docChg>
  </pc:docChgLst>
  <pc:docChgLst>
    <pc:chgData name="Caldarelli, Leslie" userId="S::lcaldarelli_luriechildrens.org#ext#@nuwildcat.onmicrosoft.com::cd79b54d-c14e-4199-a04a-39c6f592e710" providerId="AD" clId="Web-{96B049F1-23A1-EFBD-700B-2889CC878206}"/>
    <pc:docChg chg="addSld delSld modSld">
      <pc:chgData name="Caldarelli, Leslie" userId="S::lcaldarelli_luriechildrens.org#ext#@nuwildcat.onmicrosoft.com::cd79b54d-c14e-4199-a04a-39c6f592e710" providerId="AD" clId="Web-{96B049F1-23A1-EFBD-700B-2889CC878206}" dt="2023-10-31T04:45:48.858" v="115"/>
      <pc:docMkLst>
        <pc:docMk/>
      </pc:docMkLst>
      <pc:sldChg chg="modSp">
        <pc:chgData name="Caldarelli, Leslie" userId="S::lcaldarelli_luriechildrens.org#ext#@nuwildcat.onmicrosoft.com::cd79b54d-c14e-4199-a04a-39c6f592e710" providerId="AD" clId="Web-{96B049F1-23A1-EFBD-700B-2889CC878206}" dt="2023-10-31T04:36:15.700" v="10" actId="1076"/>
        <pc:sldMkLst>
          <pc:docMk/>
          <pc:sldMk cId="3472964082" sldId="550"/>
        </pc:sldMkLst>
        <pc:spChg chg="mod">
          <ac:chgData name="Caldarelli, Leslie" userId="S::lcaldarelli_luriechildrens.org#ext#@nuwildcat.onmicrosoft.com::cd79b54d-c14e-4199-a04a-39c6f592e710" providerId="AD" clId="Web-{96B049F1-23A1-EFBD-700B-2889CC878206}" dt="2023-10-31T04:36:15.700" v="10" actId="1076"/>
          <ac:spMkLst>
            <pc:docMk/>
            <pc:sldMk cId="3472964082" sldId="550"/>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6:05.231" v="8" actId="14100"/>
        <pc:sldMkLst>
          <pc:docMk/>
          <pc:sldMk cId="2562283095" sldId="551"/>
        </pc:sldMkLst>
        <pc:spChg chg="mod">
          <ac:chgData name="Caldarelli, Leslie" userId="S::lcaldarelli_luriechildrens.org#ext#@nuwildcat.onmicrosoft.com::cd79b54d-c14e-4199-a04a-39c6f592e710" providerId="AD" clId="Web-{96B049F1-23A1-EFBD-700B-2889CC878206}" dt="2023-10-31T04:36:05.231" v="8" actId="14100"/>
          <ac:spMkLst>
            <pc:docMk/>
            <pc:sldMk cId="2562283095" sldId="551"/>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8:09.080" v="32" actId="1076"/>
        <pc:sldMkLst>
          <pc:docMk/>
          <pc:sldMk cId="714682852" sldId="552"/>
        </pc:sldMkLst>
        <pc:spChg chg="mod">
          <ac:chgData name="Caldarelli, Leslie" userId="S::lcaldarelli_luriechildrens.org#ext#@nuwildcat.onmicrosoft.com::cd79b54d-c14e-4199-a04a-39c6f592e710" providerId="AD" clId="Web-{96B049F1-23A1-EFBD-700B-2889CC878206}" dt="2023-10-31T04:38:09.080" v="32" actId="1076"/>
          <ac:spMkLst>
            <pc:docMk/>
            <pc:sldMk cId="714682852" sldId="552"/>
            <ac:spMk id="6" creationId="{D07E332C-4452-C8D5-59CC-C21023DE9083}"/>
          </ac:spMkLst>
        </pc:spChg>
      </pc:sldChg>
      <pc:sldChg chg="del">
        <pc:chgData name="Caldarelli, Leslie" userId="S::lcaldarelli_luriechildrens.org#ext#@nuwildcat.onmicrosoft.com::cd79b54d-c14e-4199-a04a-39c6f592e710" providerId="AD" clId="Web-{96B049F1-23A1-EFBD-700B-2889CC878206}" dt="2023-10-31T04:43:40.230" v="99"/>
        <pc:sldMkLst>
          <pc:docMk/>
          <pc:sldMk cId="613071383" sldId="561"/>
        </pc:sldMkLst>
      </pc:sldChg>
      <pc:sldChg chg="modSp modNotes">
        <pc:chgData name="Caldarelli, Leslie" userId="S::lcaldarelli_luriechildrens.org#ext#@nuwildcat.onmicrosoft.com::cd79b54d-c14e-4199-a04a-39c6f592e710" providerId="AD" clId="Web-{96B049F1-23A1-EFBD-700B-2889CC878206}" dt="2023-10-31T04:44:16.840" v="109"/>
        <pc:sldMkLst>
          <pc:docMk/>
          <pc:sldMk cId="1141815353" sldId="562"/>
        </pc:sldMkLst>
        <pc:spChg chg="mod">
          <ac:chgData name="Caldarelli, Leslie" userId="S::lcaldarelli_luriechildrens.org#ext#@nuwildcat.onmicrosoft.com::cd79b54d-c14e-4199-a04a-39c6f592e710" providerId="AD" clId="Web-{96B049F1-23A1-EFBD-700B-2889CC878206}" dt="2023-10-31T04:44:11.074" v="108" actId="1076"/>
          <ac:spMkLst>
            <pc:docMk/>
            <pc:sldMk cId="1141815353" sldId="562"/>
            <ac:spMk id="2" creationId="{05579FEB-3306-A04E-6516-F16994F3B0F9}"/>
          </ac:spMkLst>
        </pc:spChg>
      </pc:sldChg>
      <pc:sldChg chg="modSp">
        <pc:chgData name="Caldarelli, Leslie" userId="S::lcaldarelli_luriechildrens.org#ext#@nuwildcat.onmicrosoft.com::cd79b54d-c14e-4199-a04a-39c6f592e710" providerId="AD" clId="Web-{96B049F1-23A1-EFBD-700B-2889CC878206}" dt="2023-10-31T04:35:14.683" v="3" actId="14100"/>
        <pc:sldMkLst>
          <pc:docMk/>
          <pc:sldMk cId="3561966490" sldId="585"/>
        </pc:sldMkLst>
        <pc:spChg chg="mod">
          <ac:chgData name="Caldarelli, Leslie" userId="S::lcaldarelli_luriechildrens.org#ext#@nuwildcat.onmicrosoft.com::cd79b54d-c14e-4199-a04a-39c6f592e710" providerId="AD" clId="Web-{96B049F1-23A1-EFBD-700B-2889CC878206}" dt="2023-10-31T04:35:14.683" v="3" actId="14100"/>
          <ac:spMkLst>
            <pc:docMk/>
            <pc:sldMk cId="3561966490" sldId="585"/>
            <ac:spMk id="19"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5:05.339" v="1" actId="1076"/>
        <pc:sldMkLst>
          <pc:docMk/>
          <pc:sldMk cId="3809547791" sldId="586"/>
        </pc:sldMkLst>
        <pc:spChg chg="mod">
          <ac:chgData name="Caldarelli, Leslie" userId="S::lcaldarelli_luriechildrens.org#ext#@nuwildcat.onmicrosoft.com::cd79b54d-c14e-4199-a04a-39c6f592e710" providerId="AD" clId="Web-{96B049F1-23A1-EFBD-700B-2889CC878206}" dt="2023-10-31T04:34:57.432" v="0" actId="1076"/>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96B049F1-23A1-EFBD-700B-2889CC878206}" dt="2023-10-31T04:35:05.339" v="1" actId="1076"/>
          <ac:spMkLst>
            <pc:docMk/>
            <pc:sldMk cId="3809547791" sldId="586"/>
            <ac:spMk id="47" creationId="{B8E0B5F5-B6A2-711D-2F6F-422E5E01B221}"/>
          </ac:spMkLst>
        </pc:spChg>
      </pc:sldChg>
      <pc:sldChg chg="modNotes">
        <pc:chgData name="Caldarelli, Leslie" userId="S::lcaldarelli_luriechildrens.org#ext#@nuwildcat.onmicrosoft.com::cd79b54d-c14e-4199-a04a-39c6f592e710" providerId="AD" clId="Web-{96B049F1-23A1-EFBD-700B-2889CC878206}" dt="2023-10-31T04:45:48.858" v="115"/>
        <pc:sldMkLst>
          <pc:docMk/>
          <pc:sldMk cId="3557549611" sldId="639"/>
        </pc:sldMkLst>
      </pc:sldChg>
      <pc:sldChg chg="addSp delSp modSp">
        <pc:chgData name="Caldarelli, Leslie" userId="S::lcaldarelli_luriechildrens.org#ext#@nuwildcat.onmicrosoft.com::cd79b54d-c14e-4199-a04a-39c6f592e710" providerId="AD" clId="Web-{96B049F1-23A1-EFBD-700B-2889CC878206}" dt="2023-10-31T04:38:59.597" v="37" actId="1076"/>
        <pc:sldMkLst>
          <pc:docMk/>
          <pc:sldMk cId="2443892533" sldId="643"/>
        </pc:sldMkLst>
        <pc:spChg chg="add del">
          <ac:chgData name="Caldarelli, Leslie" userId="S::lcaldarelli_luriechildrens.org#ext#@nuwildcat.onmicrosoft.com::cd79b54d-c14e-4199-a04a-39c6f592e710" providerId="AD" clId="Web-{96B049F1-23A1-EFBD-700B-2889CC878206}" dt="2023-10-31T04:38:46.097" v="35"/>
          <ac:spMkLst>
            <pc:docMk/>
            <pc:sldMk cId="2443892533" sldId="643"/>
            <ac:spMk id="11" creationId="{581D0C8D-2C93-30F9-7F42-CCAD53566229}"/>
          </ac:spMkLst>
        </pc:spChg>
        <pc:picChg chg="del">
          <ac:chgData name="Caldarelli, Leslie" userId="S::lcaldarelli_luriechildrens.org#ext#@nuwildcat.onmicrosoft.com::cd79b54d-c14e-4199-a04a-39c6f592e710" providerId="AD" clId="Web-{96B049F1-23A1-EFBD-700B-2889CC878206}" dt="2023-10-31T04:38:37.643" v="34"/>
          <ac:picMkLst>
            <pc:docMk/>
            <pc:sldMk cId="2443892533" sldId="643"/>
            <ac:picMk id="6" creationId="{3066B4FD-BDBD-74CF-7224-C3F9CDFF7807}"/>
          </ac:picMkLst>
        </pc:picChg>
        <pc:picChg chg="add mod">
          <ac:chgData name="Caldarelli, Leslie" userId="S::lcaldarelli_luriechildrens.org#ext#@nuwildcat.onmicrosoft.com::cd79b54d-c14e-4199-a04a-39c6f592e710" providerId="AD" clId="Web-{96B049F1-23A1-EFBD-700B-2889CC878206}" dt="2023-10-31T04:38:59.597" v="37" actId="1076"/>
          <ac:picMkLst>
            <pc:docMk/>
            <pc:sldMk cId="2443892533" sldId="643"/>
            <ac:picMk id="12" creationId="{9D8440DA-935D-14D8-8E90-E43A542C29BF}"/>
          </ac:picMkLst>
        </pc:picChg>
      </pc:sldChg>
      <pc:sldChg chg="new del modNotes">
        <pc:chgData name="Caldarelli, Leslie" userId="S::lcaldarelli_luriechildrens.org#ext#@nuwildcat.onmicrosoft.com::cd79b54d-c14e-4199-a04a-39c6f592e710" providerId="AD" clId="Web-{96B049F1-23A1-EFBD-700B-2889CC878206}" dt="2023-10-31T04:40:30.584" v="55"/>
        <pc:sldMkLst>
          <pc:docMk/>
          <pc:sldMk cId="1086780328" sldId="644"/>
        </pc:sldMkLst>
      </pc:sldChg>
      <pc:sldChg chg="new del modNotes">
        <pc:chgData name="Caldarelli, Leslie" userId="S::lcaldarelli_luriechildrens.org#ext#@nuwildcat.onmicrosoft.com::cd79b54d-c14e-4199-a04a-39c6f592e710" providerId="AD" clId="Web-{96B049F1-23A1-EFBD-700B-2889CC878206}" dt="2023-10-31T04:43:35.714" v="98"/>
        <pc:sldMkLst>
          <pc:docMk/>
          <pc:sldMk cId="97814466" sldId="645"/>
        </pc:sldMkLst>
      </pc:sldChg>
      <pc:sldChg chg="modSp add replId modNotes">
        <pc:chgData name="Caldarelli, Leslie" userId="S::lcaldarelli_luriechildrens.org#ext#@nuwildcat.onmicrosoft.com::cd79b54d-c14e-4199-a04a-39c6f592e710" providerId="AD" clId="Web-{96B049F1-23A1-EFBD-700B-2889CC878206}" dt="2023-10-31T04:43:27.510" v="97" actId="20577"/>
        <pc:sldMkLst>
          <pc:docMk/>
          <pc:sldMk cId="226321953" sldId="646"/>
        </pc:sldMkLst>
        <pc:spChg chg="mod">
          <ac:chgData name="Caldarelli, Leslie" userId="S::lcaldarelli_luriechildrens.org#ext#@nuwildcat.onmicrosoft.com::cd79b54d-c14e-4199-a04a-39c6f592e710" providerId="AD" clId="Web-{96B049F1-23A1-EFBD-700B-2889CC878206}" dt="2023-10-31T04:43:27.510" v="97" actId="20577"/>
          <ac:spMkLst>
            <pc:docMk/>
            <pc:sldMk cId="226321953" sldId="646"/>
            <ac:spMk id="2" creationId="{966FAC69-62AA-D40E-C4BD-DAD5BF599C69}"/>
          </ac:spMkLst>
        </pc:spChg>
      </pc:sldChg>
      <pc:sldChg chg="add replId">
        <pc:chgData name="Caldarelli, Leslie" userId="S::lcaldarelli_luriechildrens.org#ext#@nuwildcat.onmicrosoft.com::cd79b54d-c14e-4199-a04a-39c6f592e710" providerId="AD" clId="Web-{96B049F1-23A1-EFBD-700B-2889CC878206}" dt="2023-10-31T04:41:40.695" v="84"/>
        <pc:sldMkLst>
          <pc:docMk/>
          <pc:sldMk cId="1661337475" sldId="647"/>
        </pc:sldMkLst>
      </pc:sldChg>
      <pc:sldChg chg="add replId">
        <pc:chgData name="Caldarelli, Leslie" userId="S::lcaldarelli_luriechildrens.org#ext#@nuwildcat.onmicrosoft.com::cd79b54d-c14e-4199-a04a-39c6f592e710" providerId="AD" clId="Web-{96B049F1-23A1-EFBD-700B-2889CC878206}" dt="2023-10-31T04:42:47.353" v="85"/>
        <pc:sldMkLst>
          <pc:docMk/>
          <pc:sldMk cId="641611787" sldId="648"/>
        </pc:sldMkLst>
      </pc:sldChg>
    </pc:docChg>
  </pc:docChgLst>
  <pc:docChgLst>
    <pc:chgData name="Alana Rivera" userId="S::arg3669@ads.northwestern.edu::fc8b707a-b7e9-4f2a-8d71-2d76819b7881" providerId="AD" clId="Web-{B6F32D0F-7EF8-C22A-D4AE-933B4E9674EC}"/>
    <pc:docChg chg="addSld delSld modSld">
      <pc:chgData name="Alana Rivera" userId="S::arg3669@ads.northwestern.edu::fc8b707a-b7e9-4f2a-8d71-2d76819b7881" providerId="AD" clId="Web-{B6F32D0F-7EF8-C22A-D4AE-933B4E9674EC}" dt="2023-10-24T04:39:00.705" v="171" actId="1076"/>
      <pc:docMkLst>
        <pc:docMk/>
      </pc:docMkLst>
      <pc:sldChg chg="addSp delSp modSp">
        <pc:chgData name="Alana Rivera" userId="S::arg3669@ads.northwestern.edu::fc8b707a-b7e9-4f2a-8d71-2d76819b7881" providerId="AD" clId="Web-{B6F32D0F-7EF8-C22A-D4AE-933B4E9674EC}" dt="2023-10-24T03:42:19.146" v="30" actId="1076"/>
        <pc:sldMkLst>
          <pc:docMk/>
          <pc:sldMk cId="3127921386" sldId="280"/>
        </pc:sldMkLst>
        <pc:spChg chg="mod">
          <ac:chgData name="Alana Rivera" userId="S::arg3669@ads.northwestern.edu::fc8b707a-b7e9-4f2a-8d71-2d76819b7881" providerId="AD" clId="Web-{B6F32D0F-7EF8-C22A-D4AE-933B4E9674EC}" dt="2023-10-24T03:41:54.802" v="25" actId="1076"/>
          <ac:spMkLst>
            <pc:docMk/>
            <pc:sldMk cId="3127921386" sldId="280"/>
            <ac:spMk id="3" creationId="{1D742501-F937-8041-84E5-748F96AE991B}"/>
          </ac:spMkLst>
        </pc:spChg>
        <pc:spChg chg="del">
          <ac:chgData name="Alana Rivera" userId="S::arg3669@ads.northwestern.edu::fc8b707a-b7e9-4f2a-8d71-2d76819b7881" providerId="AD" clId="Web-{B6F32D0F-7EF8-C22A-D4AE-933B4E9674EC}" dt="2023-10-24T03:42:06.005" v="26"/>
          <ac:spMkLst>
            <pc:docMk/>
            <pc:sldMk cId="3127921386" sldId="280"/>
            <ac:spMk id="4" creationId="{19922563-64D6-2A4E-B048-13AC25DB45AD}"/>
          </ac:spMkLst>
        </pc:spChg>
        <pc:spChg chg="add del mod">
          <ac:chgData name="Alana Rivera" userId="S::arg3669@ads.northwestern.edu::fc8b707a-b7e9-4f2a-8d71-2d76819b7881" providerId="AD" clId="Web-{B6F32D0F-7EF8-C22A-D4AE-933B4E9674EC}" dt="2023-10-24T03:40:43.425" v="10"/>
          <ac:spMkLst>
            <pc:docMk/>
            <pc:sldMk cId="3127921386" sldId="280"/>
            <ac:spMk id="6" creationId="{E0CA01DF-B159-7E00-0A28-663487A43E23}"/>
          </ac:spMkLst>
        </pc:spChg>
        <pc:spChg chg="add del mod">
          <ac:chgData name="Alana Rivera" userId="S::arg3669@ads.northwestern.edu::fc8b707a-b7e9-4f2a-8d71-2d76819b7881" providerId="AD" clId="Web-{B6F32D0F-7EF8-C22A-D4AE-933B4E9674EC}" dt="2023-10-24T03:42:15.037" v="29"/>
          <ac:spMkLst>
            <pc:docMk/>
            <pc:sldMk cId="3127921386" sldId="280"/>
            <ac:spMk id="8" creationId="{9B053BCB-F81B-7717-0313-99518A680707}"/>
          </ac:spMkLst>
        </pc:spChg>
        <pc:spChg chg="add mod">
          <ac:chgData name="Alana Rivera" userId="S::arg3669@ads.northwestern.edu::fc8b707a-b7e9-4f2a-8d71-2d76819b7881" providerId="AD" clId="Web-{B6F32D0F-7EF8-C22A-D4AE-933B4E9674EC}" dt="2023-10-24T03:42:19.146" v="30" actId="1076"/>
          <ac:spMkLst>
            <pc:docMk/>
            <pc:sldMk cId="3127921386" sldId="280"/>
            <ac:spMk id="9" creationId="{7F20A429-9947-F447-2DF2-A5C17B5C6EC1}"/>
          </ac:spMkLst>
        </pc:spChg>
        <pc:picChg chg="add mod">
          <ac:chgData name="Alana Rivera" userId="S::arg3669@ads.northwestern.edu::fc8b707a-b7e9-4f2a-8d71-2d76819b7881" providerId="AD" clId="Web-{B6F32D0F-7EF8-C22A-D4AE-933B4E9674EC}" dt="2023-10-24T03:41:04.082" v="13" actId="1076"/>
          <ac:picMkLst>
            <pc:docMk/>
            <pc:sldMk cId="3127921386" sldId="280"/>
            <ac:picMk id="2" creationId="{0D7C69D0-240C-8322-D521-66F461EE341B}"/>
          </ac:picMkLst>
        </pc:picChg>
        <pc:picChg chg="del mod">
          <ac:chgData name="Alana Rivera" userId="S::arg3669@ads.northwestern.edu::fc8b707a-b7e9-4f2a-8d71-2d76819b7881" providerId="AD" clId="Web-{B6F32D0F-7EF8-C22A-D4AE-933B4E9674EC}" dt="2023-10-24T03:40:29.909" v="6"/>
          <ac:picMkLst>
            <pc:docMk/>
            <pc:sldMk cId="3127921386" sldId="280"/>
            <ac:picMk id="25" creationId="{AFDEE866-04F7-BF46-8FB4-0968BA571C5D}"/>
          </ac:picMkLst>
        </pc:picChg>
      </pc:sldChg>
      <pc:sldChg chg="del">
        <pc:chgData name="Alana Rivera" userId="S::arg3669@ads.northwestern.edu::fc8b707a-b7e9-4f2a-8d71-2d76819b7881" providerId="AD" clId="Web-{B6F32D0F-7EF8-C22A-D4AE-933B4E9674EC}" dt="2023-10-24T03:20:44.965" v="3"/>
        <pc:sldMkLst>
          <pc:docMk/>
          <pc:sldMk cId="3252939964" sldId="282"/>
        </pc:sldMkLst>
      </pc:sldChg>
      <pc:sldChg chg="modSp">
        <pc:chgData name="Alana Rivera" userId="S::arg3669@ads.northwestern.edu::fc8b707a-b7e9-4f2a-8d71-2d76819b7881" providerId="AD" clId="Web-{B6F32D0F-7EF8-C22A-D4AE-933B4E9674EC}" dt="2023-10-24T03:19:53.541" v="2" actId="20577"/>
        <pc:sldMkLst>
          <pc:docMk/>
          <pc:sldMk cId="4044691067" sldId="283"/>
        </pc:sldMkLst>
        <pc:spChg chg="mod">
          <ac:chgData name="Alana Rivera" userId="S::arg3669@ads.northwestern.edu::fc8b707a-b7e9-4f2a-8d71-2d76819b7881" providerId="AD" clId="Web-{B6F32D0F-7EF8-C22A-D4AE-933B4E9674EC}" dt="2023-10-24T03:19:53.541" v="2" actId="20577"/>
          <ac:spMkLst>
            <pc:docMk/>
            <pc:sldMk cId="4044691067" sldId="283"/>
            <ac:spMk id="3" creationId="{00000000-0000-0000-0000-000000000000}"/>
          </ac:spMkLst>
        </pc:spChg>
      </pc:sldChg>
      <pc:sldChg chg="modSp">
        <pc:chgData name="Alana Rivera" userId="S::arg3669@ads.northwestern.edu::fc8b707a-b7e9-4f2a-8d71-2d76819b7881" providerId="AD" clId="Web-{B6F32D0F-7EF8-C22A-D4AE-933B4E9674EC}" dt="2023-10-24T03:42:36.294" v="31"/>
        <pc:sldMkLst>
          <pc:docMk/>
          <pc:sldMk cId="2338849283" sldId="290"/>
        </pc:sldMkLst>
        <pc:spChg chg="mod">
          <ac:chgData name="Alana Rivera" userId="S::arg3669@ads.northwestern.edu::fc8b707a-b7e9-4f2a-8d71-2d76819b7881" providerId="AD" clId="Web-{B6F32D0F-7EF8-C22A-D4AE-933B4E9674EC}" dt="2023-10-24T03:42:36.294" v="31"/>
          <ac:spMkLst>
            <pc:docMk/>
            <pc:sldMk cId="2338849283" sldId="290"/>
            <ac:spMk id="2" creationId="{04883840-FDEC-E449-F7BA-E78CCEC4DD34}"/>
          </ac:spMkLst>
        </pc:spChg>
      </pc:sldChg>
      <pc:sldChg chg="modSp">
        <pc:chgData name="Alana Rivera" userId="S::arg3669@ads.northwestern.edu::fc8b707a-b7e9-4f2a-8d71-2d76819b7881" providerId="AD" clId="Web-{B6F32D0F-7EF8-C22A-D4AE-933B4E9674EC}" dt="2023-10-24T03:43:25.296" v="46" actId="20577"/>
        <pc:sldMkLst>
          <pc:docMk/>
          <pc:sldMk cId="3635595752" sldId="545"/>
        </pc:sldMkLst>
        <pc:spChg chg="mod">
          <ac:chgData name="Alana Rivera" userId="S::arg3669@ads.northwestern.edu::fc8b707a-b7e9-4f2a-8d71-2d76819b7881" providerId="AD" clId="Web-{B6F32D0F-7EF8-C22A-D4AE-933B4E9674EC}" dt="2023-10-24T03:43:25.296" v="46" actId="20577"/>
          <ac:spMkLst>
            <pc:docMk/>
            <pc:sldMk cId="3635595752" sldId="545"/>
            <ac:spMk id="3" creationId="{BFE56240-A306-0E11-425A-7323821A42F2}"/>
          </ac:spMkLst>
        </pc:spChg>
      </pc:sldChg>
      <pc:sldChg chg="modSp">
        <pc:chgData name="Alana Rivera" userId="S::arg3669@ads.northwestern.edu::fc8b707a-b7e9-4f2a-8d71-2d76819b7881" providerId="AD" clId="Web-{B6F32D0F-7EF8-C22A-D4AE-933B4E9674EC}" dt="2023-10-24T04:10:37.837" v="47" actId="1076"/>
        <pc:sldMkLst>
          <pc:docMk/>
          <pc:sldMk cId="3845418986" sldId="563"/>
        </pc:sldMkLst>
        <pc:spChg chg="mod">
          <ac:chgData name="Alana Rivera" userId="S::arg3669@ads.northwestern.edu::fc8b707a-b7e9-4f2a-8d71-2d76819b7881" providerId="AD" clId="Web-{B6F32D0F-7EF8-C22A-D4AE-933B4E9674EC}" dt="2023-10-24T04:10:37.837" v="47" actId="1076"/>
          <ac:spMkLst>
            <pc:docMk/>
            <pc:sldMk cId="3845418986" sldId="563"/>
            <ac:spMk id="44" creationId="{00000000-0000-0000-0000-000000000000}"/>
          </ac:spMkLst>
        </pc:spChg>
      </pc:sldChg>
      <pc:sldChg chg="addSp modSp add">
        <pc:chgData name="Alana Rivera" userId="S::arg3669@ads.northwestern.edu::fc8b707a-b7e9-4f2a-8d71-2d76819b7881" providerId="AD" clId="Web-{B6F32D0F-7EF8-C22A-D4AE-933B4E9674EC}" dt="2023-10-24T04:27:47.156" v="116" actId="1076"/>
        <pc:sldMkLst>
          <pc:docMk/>
          <pc:sldMk cId="2564870475" sldId="566"/>
        </pc:sldMkLst>
        <pc:spChg chg="mod">
          <ac:chgData name="Alana Rivera" userId="S::arg3669@ads.northwestern.edu::fc8b707a-b7e9-4f2a-8d71-2d76819b7881" providerId="AD" clId="Web-{B6F32D0F-7EF8-C22A-D4AE-933B4E9674EC}" dt="2023-10-24T04:22:26.665" v="60" actId="1076"/>
          <ac:spMkLst>
            <pc:docMk/>
            <pc:sldMk cId="2564870475" sldId="566"/>
            <ac:spMk id="2" creationId="{00000000-0000-0000-0000-000000000000}"/>
          </ac:spMkLst>
        </pc:spChg>
        <pc:spChg chg="mod">
          <ac:chgData name="Alana Rivera" userId="S::arg3669@ads.northwestern.edu::fc8b707a-b7e9-4f2a-8d71-2d76819b7881" providerId="AD" clId="Web-{B6F32D0F-7EF8-C22A-D4AE-933B4E9674EC}" dt="2023-10-24T04:22:32.259" v="61" actId="1076"/>
          <ac:spMkLst>
            <pc:docMk/>
            <pc:sldMk cId="2564870475" sldId="566"/>
            <ac:spMk id="12" creationId="{00000000-0000-0000-0000-000000000000}"/>
          </ac:spMkLst>
        </pc:spChg>
        <pc:spChg chg="mod">
          <ac:chgData name="Alana Rivera" userId="S::arg3669@ads.northwestern.edu::fc8b707a-b7e9-4f2a-8d71-2d76819b7881" providerId="AD" clId="Web-{B6F32D0F-7EF8-C22A-D4AE-933B4E9674EC}" dt="2023-10-24T04:22:35.009" v="62" actId="1076"/>
          <ac:spMkLst>
            <pc:docMk/>
            <pc:sldMk cId="2564870475" sldId="566"/>
            <ac:spMk id="15" creationId="{00000000-0000-0000-0000-000000000000}"/>
          </ac:spMkLst>
        </pc:spChg>
        <pc:spChg chg="add mod">
          <ac:chgData name="Alana Rivera" userId="S::arg3669@ads.northwestern.edu::fc8b707a-b7e9-4f2a-8d71-2d76819b7881" providerId="AD" clId="Web-{B6F32D0F-7EF8-C22A-D4AE-933B4E9674EC}" dt="2023-10-24T04:22:38.759" v="63" actId="1076"/>
          <ac:spMkLst>
            <pc:docMk/>
            <pc:sldMk cId="2564870475" sldId="566"/>
            <ac:spMk id="23" creationId="{78B5A3B7-0107-74A6-42BE-EFADF14BEC3D}"/>
          </ac:spMkLst>
        </pc:spChg>
        <pc:picChg chg="add mod">
          <ac:chgData name="Alana Rivera" userId="S::arg3669@ads.northwestern.edu::fc8b707a-b7e9-4f2a-8d71-2d76819b7881" providerId="AD" clId="Web-{B6F32D0F-7EF8-C22A-D4AE-933B4E9674EC}" dt="2023-10-24T04:27:47.156" v="116" actId="1076"/>
          <ac:picMkLst>
            <pc:docMk/>
            <pc:sldMk cId="2564870475" sldId="566"/>
            <ac:picMk id="24" creationId="{BB2CB55F-0790-7175-FF6E-777FF2A900CC}"/>
          </ac:picMkLst>
        </pc:picChg>
      </pc:sldChg>
      <pc:sldChg chg="addSp delSp modSp add del replId">
        <pc:chgData name="Alana Rivera" userId="S::arg3669@ads.northwestern.edu::fc8b707a-b7e9-4f2a-8d71-2d76819b7881" providerId="AD" clId="Web-{B6F32D0F-7EF8-C22A-D4AE-933B4E9674EC}" dt="2023-10-24T04:39:00.705" v="171" actId="1076"/>
        <pc:sldMkLst>
          <pc:docMk/>
          <pc:sldMk cId="310672773" sldId="567"/>
        </pc:sldMkLst>
        <pc:spChg chg="mod">
          <ac:chgData name="Alana Rivera" userId="S::arg3669@ads.northwestern.edu::fc8b707a-b7e9-4f2a-8d71-2d76819b7881" providerId="AD" clId="Web-{B6F32D0F-7EF8-C22A-D4AE-933B4E9674EC}" dt="2023-10-24T04:27:59.609" v="118" actId="1076"/>
          <ac:spMkLst>
            <pc:docMk/>
            <pc:sldMk cId="310672773" sldId="567"/>
            <ac:spMk id="24" creationId="{00000000-0000-0000-0000-000000000000}"/>
          </ac:spMkLst>
        </pc:spChg>
        <pc:spChg chg="mod">
          <ac:chgData name="Alana Rivera" userId="S::arg3669@ads.northwestern.edu::fc8b707a-b7e9-4f2a-8d71-2d76819b7881" providerId="AD" clId="Web-{B6F32D0F-7EF8-C22A-D4AE-933B4E9674EC}" dt="2023-10-24T04:28:20.360" v="121" actId="1076"/>
          <ac:spMkLst>
            <pc:docMk/>
            <pc:sldMk cId="310672773" sldId="567"/>
            <ac:spMk id="25" creationId="{00000000-0000-0000-0000-000000000000}"/>
          </ac:spMkLst>
        </pc:spChg>
        <pc:spChg chg="del">
          <ac:chgData name="Alana Rivera" userId="S::arg3669@ads.northwestern.edu::fc8b707a-b7e9-4f2a-8d71-2d76819b7881" providerId="AD" clId="Web-{B6F32D0F-7EF8-C22A-D4AE-933B4E9674EC}" dt="2023-10-24T04:23:18.681" v="68"/>
          <ac:spMkLst>
            <pc:docMk/>
            <pc:sldMk cId="310672773" sldId="567"/>
            <ac:spMk id="26" creationId="{00000000-0000-0000-0000-000000000000}"/>
          </ac:spMkLst>
        </pc:spChg>
        <pc:spChg chg="del">
          <ac:chgData name="Alana Rivera" userId="S::arg3669@ads.northwestern.edu::fc8b707a-b7e9-4f2a-8d71-2d76819b7881" providerId="AD" clId="Web-{B6F32D0F-7EF8-C22A-D4AE-933B4E9674EC}" dt="2023-10-24T04:23:44.541" v="72"/>
          <ac:spMkLst>
            <pc:docMk/>
            <pc:sldMk cId="310672773" sldId="567"/>
            <ac:spMk id="27" creationId="{00000000-0000-0000-0000-000000000000}"/>
          </ac:spMkLst>
        </pc:spChg>
        <pc:spChg chg="del">
          <ac:chgData name="Alana Rivera" userId="S::arg3669@ads.northwestern.edu::fc8b707a-b7e9-4f2a-8d71-2d76819b7881" providerId="AD" clId="Web-{B6F32D0F-7EF8-C22A-D4AE-933B4E9674EC}" dt="2023-10-24T04:23:54.120" v="77"/>
          <ac:spMkLst>
            <pc:docMk/>
            <pc:sldMk cId="310672773" sldId="567"/>
            <ac:spMk id="28" creationId="{00000000-0000-0000-0000-000000000000}"/>
          </ac:spMkLst>
        </pc:spChg>
        <pc:spChg chg="del">
          <ac:chgData name="Alana Rivera" userId="S::arg3669@ads.northwestern.edu::fc8b707a-b7e9-4f2a-8d71-2d76819b7881" providerId="AD" clId="Web-{B6F32D0F-7EF8-C22A-D4AE-933B4E9674EC}" dt="2023-10-24T04:24:20.777" v="92"/>
          <ac:spMkLst>
            <pc:docMk/>
            <pc:sldMk cId="310672773" sldId="567"/>
            <ac:spMk id="29" creationId="{00000000-0000-0000-0000-000000000000}"/>
          </ac:spMkLst>
        </pc:spChg>
        <pc:spChg chg="del">
          <ac:chgData name="Alana Rivera" userId="S::arg3669@ads.northwestern.edu::fc8b707a-b7e9-4f2a-8d71-2d76819b7881" providerId="AD" clId="Web-{B6F32D0F-7EF8-C22A-D4AE-933B4E9674EC}" dt="2023-10-24T04:24:00.464" v="81"/>
          <ac:spMkLst>
            <pc:docMk/>
            <pc:sldMk cId="310672773" sldId="567"/>
            <ac:spMk id="30" creationId="{00000000-0000-0000-0000-000000000000}"/>
          </ac:spMkLst>
        </pc:spChg>
        <pc:spChg chg="del">
          <ac:chgData name="Alana Rivera" userId="S::arg3669@ads.northwestern.edu::fc8b707a-b7e9-4f2a-8d71-2d76819b7881" providerId="AD" clId="Web-{B6F32D0F-7EF8-C22A-D4AE-933B4E9674EC}" dt="2023-10-24T04:24:14.964" v="88"/>
          <ac:spMkLst>
            <pc:docMk/>
            <pc:sldMk cId="310672773" sldId="567"/>
            <ac:spMk id="32" creationId="{00000000-0000-0000-0000-000000000000}"/>
          </ac:spMkLst>
        </pc:spChg>
        <pc:spChg chg="del mod">
          <ac:chgData name="Alana Rivera" userId="S::arg3669@ads.northwestern.edu::fc8b707a-b7e9-4f2a-8d71-2d76819b7881" providerId="AD" clId="Web-{B6F32D0F-7EF8-C22A-D4AE-933B4E9674EC}" dt="2023-10-24T04:23:44.651" v="74"/>
          <ac:spMkLst>
            <pc:docMk/>
            <pc:sldMk cId="310672773" sldId="567"/>
            <ac:spMk id="33" creationId="{00000000-0000-0000-0000-000000000000}"/>
          </ac:spMkLst>
        </pc:spChg>
        <pc:spChg chg="del">
          <ac:chgData name="Alana Rivera" userId="S::arg3669@ads.northwestern.edu::fc8b707a-b7e9-4f2a-8d71-2d76819b7881" providerId="AD" clId="Web-{B6F32D0F-7EF8-C22A-D4AE-933B4E9674EC}" dt="2023-10-24T04:23:45.291" v="75"/>
          <ac:spMkLst>
            <pc:docMk/>
            <pc:sldMk cId="310672773" sldId="567"/>
            <ac:spMk id="34" creationId="{00000000-0000-0000-0000-000000000000}"/>
          </ac:spMkLst>
        </pc:spChg>
        <pc:spChg chg="del">
          <ac:chgData name="Alana Rivera" userId="S::arg3669@ads.northwestern.edu::fc8b707a-b7e9-4f2a-8d71-2d76819b7881" providerId="AD" clId="Web-{B6F32D0F-7EF8-C22A-D4AE-933B4E9674EC}" dt="2023-10-24T04:23:50.291" v="76"/>
          <ac:spMkLst>
            <pc:docMk/>
            <pc:sldMk cId="310672773" sldId="567"/>
            <ac:spMk id="35" creationId="{00000000-0000-0000-0000-000000000000}"/>
          </ac:spMkLst>
        </pc:spChg>
        <pc:spChg chg="del">
          <ac:chgData name="Alana Rivera" userId="S::arg3669@ads.northwestern.edu::fc8b707a-b7e9-4f2a-8d71-2d76819b7881" providerId="AD" clId="Web-{B6F32D0F-7EF8-C22A-D4AE-933B4E9674EC}" dt="2023-10-24T04:24:25.667" v="95"/>
          <ac:spMkLst>
            <pc:docMk/>
            <pc:sldMk cId="310672773" sldId="567"/>
            <ac:spMk id="36" creationId="{00000000-0000-0000-0000-000000000000}"/>
          </ac:spMkLst>
        </pc:spChg>
        <pc:spChg chg="del">
          <ac:chgData name="Alana Rivera" userId="S::arg3669@ads.northwestern.edu::fc8b707a-b7e9-4f2a-8d71-2d76819b7881" providerId="AD" clId="Web-{B6F32D0F-7EF8-C22A-D4AE-933B4E9674EC}" dt="2023-10-24T04:24:24.511" v="94"/>
          <ac:spMkLst>
            <pc:docMk/>
            <pc:sldMk cId="310672773" sldId="567"/>
            <ac:spMk id="37" creationId="{00000000-0000-0000-0000-000000000000}"/>
          </ac:spMkLst>
        </pc:spChg>
        <pc:spChg chg="del">
          <ac:chgData name="Alana Rivera" userId="S::arg3669@ads.northwestern.edu::fc8b707a-b7e9-4f2a-8d71-2d76819b7881" providerId="AD" clId="Web-{B6F32D0F-7EF8-C22A-D4AE-933B4E9674EC}" dt="2023-10-24T04:24:04.448" v="84"/>
          <ac:spMkLst>
            <pc:docMk/>
            <pc:sldMk cId="310672773" sldId="567"/>
            <ac:spMk id="38" creationId="{00000000-0000-0000-0000-000000000000}"/>
          </ac:spMkLst>
        </pc:spChg>
        <pc:spChg chg="del">
          <ac:chgData name="Alana Rivera" userId="S::arg3669@ads.northwestern.edu::fc8b707a-b7e9-4f2a-8d71-2d76819b7881" providerId="AD" clId="Web-{B6F32D0F-7EF8-C22A-D4AE-933B4E9674EC}" dt="2023-10-24T04:24:04.339" v="83"/>
          <ac:spMkLst>
            <pc:docMk/>
            <pc:sldMk cId="310672773" sldId="567"/>
            <ac:spMk id="39" creationId="{00000000-0000-0000-0000-000000000000}"/>
          </ac:spMkLst>
        </pc:spChg>
        <pc:spChg chg="del">
          <ac:chgData name="Alana Rivera" userId="S::arg3669@ads.northwestern.edu::fc8b707a-b7e9-4f2a-8d71-2d76819b7881" providerId="AD" clId="Web-{B6F32D0F-7EF8-C22A-D4AE-933B4E9674EC}" dt="2023-10-24T04:24:10.636" v="86"/>
          <ac:spMkLst>
            <pc:docMk/>
            <pc:sldMk cId="310672773" sldId="567"/>
            <ac:spMk id="40" creationId="{00000000-0000-0000-0000-000000000000}"/>
          </ac:spMkLst>
        </pc:spChg>
        <pc:spChg chg="del">
          <ac:chgData name="Alana Rivera" userId="S::arg3669@ads.northwestern.edu::fc8b707a-b7e9-4f2a-8d71-2d76819b7881" providerId="AD" clId="Web-{B6F32D0F-7EF8-C22A-D4AE-933B4E9674EC}" dt="2023-10-24T04:24:05.776" v="85"/>
          <ac:spMkLst>
            <pc:docMk/>
            <pc:sldMk cId="310672773" sldId="567"/>
            <ac:spMk id="41" creationId="{00000000-0000-0000-0000-000000000000}"/>
          </ac:spMkLst>
        </pc:spChg>
        <pc:spChg chg="del">
          <ac:chgData name="Alana Rivera" userId="S::arg3669@ads.northwestern.edu::fc8b707a-b7e9-4f2a-8d71-2d76819b7881" providerId="AD" clId="Web-{B6F32D0F-7EF8-C22A-D4AE-933B4E9674EC}" dt="2023-10-24T04:24:15.058" v="90"/>
          <ac:spMkLst>
            <pc:docMk/>
            <pc:sldMk cId="310672773" sldId="567"/>
            <ac:spMk id="42" creationId="{00000000-0000-0000-0000-000000000000}"/>
          </ac:spMkLst>
        </pc:spChg>
        <pc:spChg chg="del">
          <ac:chgData name="Alana Rivera" userId="S::arg3669@ads.northwestern.edu::fc8b707a-b7e9-4f2a-8d71-2d76819b7881" providerId="AD" clId="Web-{B6F32D0F-7EF8-C22A-D4AE-933B4E9674EC}" dt="2023-10-24T04:24:16.573" v="91"/>
          <ac:spMkLst>
            <pc:docMk/>
            <pc:sldMk cId="310672773" sldId="567"/>
            <ac:spMk id="43" creationId="{00000000-0000-0000-0000-000000000000}"/>
          </ac:spMkLst>
        </pc:spChg>
        <pc:spChg chg="mod">
          <ac:chgData name="Alana Rivera" userId="S::arg3669@ads.northwestern.edu::fc8b707a-b7e9-4f2a-8d71-2d76819b7881" providerId="AD" clId="Web-{B6F32D0F-7EF8-C22A-D4AE-933B4E9674EC}" dt="2023-10-24T04:28:16.641" v="120" actId="1076"/>
          <ac:spMkLst>
            <pc:docMk/>
            <pc:sldMk cId="310672773" sldId="567"/>
            <ac:spMk id="44" creationId="{00000000-0000-0000-0000-000000000000}"/>
          </ac:spMkLst>
        </pc:spChg>
        <pc:spChg chg="mod">
          <ac:chgData name="Alana Rivera" userId="S::arg3669@ads.northwestern.edu::fc8b707a-b7e9-4f2a-8d71-2d76819b7881" providerId="AD" clId="Web-{B6F32D0F-7EF8-C22A-D4AE-933B4E9674EC}" dt="2023-10-24T04:39:00.705" v="171" actId="1076"/>
          <ac:spMkLst>
            <pc:docMk/>
            <pc:sldMk cId="310672773" sldId="567"/>
            <ac:spMk id="45" creationId="{00000000-0000-0000-0000-000000000000}"/>
          </ac:spMkLst>
        </pc:spChg>
        <pc:spChg chg="del">
          <ac:chgData name="Alana Rivera" userId="S::arg3669@ads.northwestern.edu::fc8b707a-b7e9-4f2a-8d71-2d76819b7881" providerId="AD" clId="Web-{B6F32D0F-7EF8-C22A-D4AE-933B4E9674EC}" dt="2023-10-24T04:23:54.292" v="79"/>
          <ac:spMkLst>
            <pc:docMk/>
            <pc:sldMk cId="310672773" sldId="567"/>
            <ac:spMk id="46" creationId="{00000000-0000-0000-0000-000000000000}"/>
          </ac:spMkLst>
        </pc:spChg>
        <pc:spChg chg="del">
          <ac:chgData name="Alana Rivera" userId="S::arg3669@ads.northwestern.edu::fc8b707a-b7e9-4f2a-8d71-2d76819b7881" providerId="AD" clId="Web-{B6F32D0F-7EF8-C22A-D4AE-933B4E9674EC}" dt="2023-10-24T04:23:44.604" v="73"/>
          <ac:spMkLst>
            <pc:docMk/>
            <pc:sldMk cId="310672773" sldId="567"/>
            <ac:spMk id="47" creationId="{00000000-0000-0000-0000-000000000000}"/>
          </ac:spMkLst>
        </pc:spChg>
        <pc:spChg chg="del">
          <ac:chgData name="Alana Rivera" userId="S::arg3669@ads.northwestern.edu::fc8b707a-b7e9-4f2a-8d71-2d76819b7881" providerId="AD" clId="Web-{B6F32D0F-7EF8-C22A-D4AE-933B4E9674EC}" dt="2023-10-24T04:23:24.260" v="69"/>
          <ac:spMkLst>
            <pc:docMk/>
            <pc:sldMk cId="310672773" sldId="567"/>
            <ac:spMk id="48" creationId="{00000000-0000-0000-0000-000000000000}"/>
          </ac:spMkLst>
        </pc:spChg>
        <pc:spChg chg="del mod">
          <ac:chgData name="Alana Rivera" userId="S::arg3669@ads.northwestern.edu::fc8b707a-b7e9-4f2a-8d71-2d76819b7881" providerId="AD" clId="Web-{B6F32D0F-7EF8-C22A-D4AE-933B4E9674EC}" dt="2023-10-24T04:38:51.142" v="170"/>
          <ac:spMkLst>
            <pc:docMk/>
            <pc:sldMk cId="310672773" sldId="567"/>
            <ac:spMk id="49" creationId="{00000000-0000-0000-0000-000000000000}"/>
          </ac:spMkLst>
        </pc:spChg>
        <pc:spChg chg="add mod">
          <ac:chgData name="Alana Rivera" userId="S::arg3669@ads.northwestern.edu::fc8b707a-b7e9-4f2a-8d71-2d76819b7881" providerId="AD" clId="Web-{B6F32D0F-7EF8-C22A-D4AE-933B4E9674EC}" dt="2023-10-24T04:36:55.296" v="154" actId="14100"/>
          <ac:spMkLst>
            <pc:docMk/>
            <pc:sldMk cId="310672773" sldId="567"/>
            <ac:spMk id="50" creationId="{95B469C3-D645-40A9-B8DD-54193E200864}"/>
          </ac:spMkLst>
        </pc:spChg>
        <pc:spChg chg="add mod">
          <ac:chgData name="Alana Rivera" userId="S::arg3669@ads.northwestern.edu::fc8b707a-b7e9-4f2a-8d71-2d76819b7881" providerId="AD" clId="Web-{B6F32D0F-7EF8-C22A-D4AE-933B4E9674EC}" dt="2023-10-24T04:38:00.282" v="165" actId="20577"/>
          <ac:spMkLst>
            <pc:docMk/>
            <pc:sldMk cId="310672773" sldId="567"/>
            <ac:spMk id="51" creationId="{30D625CB-EE41-128F-FC0A-4E5883BC18EC}"/>
          </ac:spMkLst>
        </pc:spChg>
        <pc:spChg chg="add mod">
          <ac:chgData name="Alana Rivera" userId="S::arg3669@ads.northwestern.edu::fc8b707a-b7e9-4f2a-8d71-2d76819b7881" providerId="AD" clId="Web-{B6F32D0F-7EF8-C22A-D4AE-933B4E9674EC}" dt="2023-10-24T04:37:30.500" v="158" actId="1076"/>
          <ac:spMkLst>
            <pc:docMk/>
            <pc:sldMk cId="310672773" sldId="567"/>
            <ac:spMk id="52" creationId="{E8A77D57-8EE2-88D3-5381-D8E92995DA02}"/>
          </ac:spMkLst>
        </pc:spChg>
        <pc:spChg chg="add mod">
          <ac:chgData name="Alana Rivera" userId="S::arg3669@ads.northwestern.edu::fc8b707a-b7e9-4f2a-8d71-2d76819b7881" providerId="AD" clId="Web-{B6F32D0F-7EF8-C22A-D4AE-933B4E9674EC}" dt="2023-10-24T04:38:40.939" v="168"/>
          <ac:spMkLst>
            <pc:docMk/>
            <pc:sldMk cId="310672773" sldId="567"/>
            <ac:spMk id="53" creationId="{FBAF7918-02CE-7D9C-B338-0825A2E5C3E6}"/>
          </ac:spMkLst>
        </pc:spChg>
        <pc:grpChg chg="del">
          <ac:chgData name="Alana Rivera" userId="S::arg3669@ads.northwestern.edu::fc8b707a-b7e9-4f2a-8d71-2d76819b7881" providerId="AD" clId="Web-{B6F32D0F-7EF8-C22A-D4AE-933B4E9674EC}" dt="2023-10-24T04:23:55.401" v="80"/>
          <ac:grpSpMkLst>
            <pc:docMk/>
            <pc:sldMk cId="310672773" sldId="567"/>
            <ac:grpSpMk id="2" creationId="{00000000-0000-0000-0000-000000000000}"/>
          </ac:grpSpMkLst>
        </pc:grpChg>
        <pc:grpChg chg="del">
          <ac:chgData name="Alana Rivera" userId="S::arg3669@ads.northwestern.edu::fc8b707a-b7e9-4f2a-8d71-2d76819b7881" providerId="AD" clId="Web-{B6F32D0F-7EF8-C22A-D4AE-933B4E9674EC}" dt="2023-10-24T04:23:40.604" v="71"/>
          <ac:grpSpMkLst>
            <pc:docMk/>
            <pc:sldMk cId="310672773" sldId="567"/>
            <ac:grpSpMk id="5" creationId="{00000000-0000-0000-0000-000000000000}"/>
          </ac:grpSpMkLst>
        </pc:grpChg>
        <pc:grpChg chg="del">
          <ac:chgData name="Alana Rivera" userId="S::arg3669@ads.northwestern.edu::fc8b707a-b7e9-4f2a-8d71-2d76819b7881" providerId="AD" clId="Web-{B6F32D0F-7EF8-C22A-D4AE-933B4E9674EC}" dt="2023-10-24T04:24:04.292" v="82"/>
          <ac:grpSpMkLst>
            <pc:docMk/>
            <pc:sldMk cId="310672773" sldId="567"/>
            <ac:grpSpMk id="8" creationId="{00000000-0000-0000-0000-000000000000}"/>
          </ac:grpSpMkLst>
        </pc:grpChg>
        <pc:grpChg chg="del">
          <ac:chgData name="Alana Rivera" userId="S::arg3669@ads.northwestern.edu::fc8b707a-b7e9-4f2a-8d71-2d76819b7881" providerId="AD" clId="Web-{B6F32D0F-7EF8-C22A-D4AE-933B4E9674EC}" dt="2023-10-24T04:23:54.245" v="78"/>
          <ac:grpSpMkLst>
            <pc:docMk/>
            <pc:sldMk cId="310672773" sldId="567"/>
            <ac:grpSpMk id="11" creationId="{00000000-0000-0000-0000-000000000000}"/>
          </ac:grpSpMkLst>
        </pc:grpChg>
        <pc:grpChg chg="del">
          <ac:chgData name="Alana Rivera" userId="S::arg3669@ads.northwestern.edu::fc8b707a-b7e9-4f2a-8d71-2d76819b7881" providerId="AD" clId="Web-{B6F32D0F-7EF8-C22A-D4AE-933B4E9674EC}" dt="2023-10-24T04:24:14.870" v="87"/>
          <ac:grpSpMkLst>
            <pc:docMk/>
            <pc:sldMk cId="310672773" sldId="567"/>
            <ac:grpSpMk id="14" creationId="{00000000-0000-0000-0000-000000000000}"/>
          </ac:grpSpMkLst>
        </pc:grpChg>
        <pc:grpChg chg="del">
          <ac:chgData name="Alana Rivera" userId="S::arg3669@ads.northwestern.edu::fc8b707a-b7e9-4f2a-8d71-2d76819b7881" providerId="AD" clId="Web-{B6F32D0F-7EF8-C22A-D4AE-933B4E9674EC}" dt="2023-10-24T04:24:24.448" v="93"/>
          <ac:grpSpMkLst>
            <pc:docMk/>
            <pc:sldMk cId="310672773" sldId="567"/>
            <ac:grpSpMk id="17" creationId="{00000000-0000-0000-0000-000000000000}"/>
          </ac:grpSpMkLst>
        </pc:grpChg>
        <pc:grpChg chg="del">
          <ac:chgData name="Alana Rivera" userId="S::arg3669@ads.northwestern.edu::fc8b707a-b7e9-4f2a-8d71-2d76819b7881" providerId="AD" clId="Web-{B6F32D0F-7EF8-C22A-D4AE-933B4E9674EC}" dt="2023-10-24T04:24:14.980" v="89"/>
          <ac:grpSpMkLst>
            <pc:docMk/>
            <pc:sldMk cId="310672773" sldId="567"/>
            <ac:grpSpMk id="20" creationId="{00000000-0000-0000-0000-000000000000}"/>
          </ac:grpSpMkLst>
        </pc:grpChg>
      </pc:sldChg>
    </pc:docChg>
  </pc:docChgLst>
  <pc:docChgLst>
    <pc:chgData name="Eileen Fleming Suse" userId="S::efs3844@ads.northwestern.edu::725c94ef-d051-42d7-9d33-8572765d592b" providerId="AD" clId="Web-{525C70A3-2AD6-57EA-9F7E-A6FC0841DEBD}"/>
    <pc:docChg chg="mod addSld modSld sldOrd">
      <pc:chgData name="Eileen Fleming Suse" userId="S::efs3844@ads.northwestern.edu::725c94ef-d051-42d7-9d33-8572765d592b" providerId="AD" clId="Web-{525C70A3-2AD6-57EA-9F7E-A6FC0841DEBD}" dt="2023-10-23T23:00:26.391" v="20"/>
      <pc:docMkLst>
        <pc:docMk/>
      </pc:docMkLst>
      <pc:sldChg chg="addCm">
        <pc:chgData name="Eileen Fleming Suse" userId="S::efs3844@ads.northwestern.edu::725c94ef-d051-42d7-9d33-8572765d592b" providerId="AD" clId="Web-{525C70A3-2AD6-57EA-9F7E-A6FC0841DEBD}" dt="2023-10-23T18:53:43.980" v="2"/>
        <pc:sldMkLst>
          <pc:docMk/>
          <pc:sldMk cId="2351229145" sldId="544"/>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525C70A3-2AD6-57EA-9F7E-A6FC0841DEBD}" dt="2023-10-23T18:53:43.980" v="2"/>
              <pc2:cmMkLst xmlns:pc2="http://schemas.microsoft.com/office/powerpoint/2019/9/main/command">
                <pc:docMk/>
                <pc:sldMk cId="2351229145" sldId="544"/>
                <pc2:cmMk id="{94040B62-D001-43B9-8FD0-0A8B0C9B684C}"/>
              </pc2:cmMkLst>
            </pc226:cmChg>
          </p:ext>
        </pc:extLst>
      </pc:sldChg>
      <pc:sldChg chg="add ord">
        <pc:chgData name="Eileen Fleming Suse" userId="S::efs3844@ads.northwestern.edu::725c94ef-d051-42d7-9d33-8572765d592b" providerId="AD" clId="Web-{525C70A3-2AD6-57EA-9F7E-A6FC0841DEBD}" dt="2023-10-23T22:34:05.799" v="12"/>
        <pc:sldMkLst>
          <pc:docMk/>
          <pc:sldMk cId="714682852" sldId="552"/>
        </pc:sldMkLst>
      </pc:sldChg>
      <pc:sldChg chg="add">
        <pc:chgData name="Eileen Fleming Suse" userId="S::efs3844@ads.northwestern.edu::725c94ef-d051-42d7-9d33-8572765d592b" providerId="AD" clId="Web-{525C70A3-2AD6-57EA-9F7E-A6FC0841DEBD}" dt="2023-10-23T22:32:28.515" v="4"/>
        <pc:sldMkLst>
          <pc:docMk/>
          <pc:sldMk cId="3536510335" sldId="553"/>
        </pc:sldMkLst>
      </pc:sldChg>
      <pc:sldChg chg="add">
        <pc:chgData name="Eileen Fleming Suse" userId="S::efs3844@ads.northwestern.edu::725c94ef-d051-42d7-9d33-8572765d592b" providerId="AD" clId="Web-{525C70A3-2AD6-57EA-9F7E-A6FC0841DEBD}" dt="2023-10-23T22:32:29.500" v="5"/>
        <pc:sldMkLst>
          <pc:docMk/>
          <pc:sldMk cId="1231844700" sldId="554"/>
        </pc:sldMkLst>
      </pc:sldChg>
      <pc:sldChg chg="add">
        <pc:chgData name="Eileen Fleming Suse" userId="S::efs3844@ads.northwestern.edu::725c94ef-d051-42d7-9d33-8572765d592b" providerId="AD" clId="Web-{525C70A3-2AD6-57EA-9F7E-A6FC0841DEBD}" dt="2023-10-23T22:32:30.546" v="6"/>
        <pc:sldMkLst>
          <pc:docMk/>
          <pc:sldMk cId="1522616096" sldId="555"/>
        </pc:sldMkLst>
      </pc:sldChg>
      <pc:sldChg chg="modSp add">
        <pc:chgData name="Eileen Fleming Suse" userId="S::efs3844@ads.northwestern.edu::725c94ef-d051-42d7-9d33-8572765d592b" providerId="AD" clId="Web-{525C70A3-2AD6-57EA-9F7E-A6FC0841DEBD}" dt="2023-10-23T22:32:56.500" v="9" actId="20577"/>
        <pc:sldMkLst>
          <pc:docMk/>
          <pc:sldMk cId="1514756035" sldId="556"/>
        </pc:sldMkLst>
        <pc:spChg chg="mod">
          <ac:chgData name="Eileen Fleming Suse" userId="S::efs3844@ads.northwestern.edu::725c94ef-d051-42d7-9d33-8572765d592b" providerId="AD" clId="Web-{525C70A3-2AD6-57EA-9F7E-A6FC0841DEBD}" dt="2023-10-23T22:32:56.500" v="9" actId="20577"/>
          <ac:spMkLst>
            <pc:docMk/>
            <pc:sldMk cId="1514756035" sldId="556"/>
            <ac:spMk id="48" creationId="{9DA002CE-213B-0EFE-03DC-C3DB65BCF003}"/>
          </ac:spMkLst>
        </pc:spChg>
      </pc:sldChg>
      <pc:sldChg chg="delSp add">
        <pc:chgData name="Eileen Fleming Suse" userId="S::efs3844@ads.northwestern.edu::725c94ef-d051-42d7-9d33-8572765d592b" providerId="AD" clId="Web-{525C70A3-2AD6-57EA-9F7E-A6FC0841DEBD}" dt="2023-10-23T22:33:47.314" v="11"/>
        <pc:sldMkLst>
          <pc:docMk/>
          <pc:sldMk cId="2997078466" sldId="557"/>
        </pc:sldMkLst>
        <pc:spChg chg="del">
          <ac:chgData name="Eileen Fleming Suse" userId="S::efs3844@ads.northwestern.edu::725c94ef-d051-42d7-9d33-8572765d592b" providerId="AD" clId="Web-{525C70A3-2AD6-57EA-9F7E-A6FC0841DEBD}" dt="2023-10-23T22:33:47.314" v="11"/>
          <ac:spMkLst>
            <pc:docMk/>
            <pc:sldMk cId="2997078466" sldId="557"/>
            <ac:spMk id="3" creationId="{519453C4-D641-E6F9-196B-26AF5EFCC40A}"/>
          </ac:spMkLst>
        </pc:spChg>
      </pc:sldChg>
      <pc:sldChg chg="modSp mod modClrScheme chgLayout">
        <pc:chgData name="Eileen Fleming Suse" userId="S::efs3844@ads.northwestern.edu::725c94ef-d051-42d7-9d33-8572765d592b" providerId="AD" clId="Web-{525C70A3-2AD6-57EA-9F7E-A6FC0841DEBD}" dt="2023-10-23T22:59:09.760" v="13"/>
        <pc:sldMkLst>
          <pc:docMk/>
          <pc:sldMk cId="202185053" sldId="559"/>
        </pc:sldMkLst>
        <pc:spChg chg="mod ord">
          <ac:chgData name="Eileen Fleming Suse" userId="S::efs3844@ads.northwestern.edu::725c94ef-d051-42d7-9d33-8572765d592b" providerId="AD" clId="Web-{525C70A3-2AD6-57EA-9F7E-A6FC0841DEBD}" dt="2023-10-23T22:59:09.760" v="13"/>
          <ac:spMkLst>
            <pc:docMk/>
            <pc:sldMk cId="202185053" sldId="559"/>
            <ac:spMk id="2" creationId="{4DA6F726-268B-D1E3-168E-B1D635F770C9}"/>
          </ac:spMkLst>
        </pc:spChg>
        <pc:spChg chg="mod ord">
          <ac:chgData name="Eileen Fleming Suse" userId="S::efs3844@ads.northwestern.edu::725c94ef-d051-42d7-9d33-8572765d592b" providerId="AD" clId="Web-{525C70A3-2AD6-57EA-9F7E-A6FC0841DEBD}" dt="2023-10-23T22:59:09.760" v="13"/>
          <ac:spMkLst>
            <pc:docMk/>
            <pc:sldMk cId="202185053" sldId="559"/>
            <ac:spMk id="3" creationId="{97C35C3F-414A-0BEC-2B1F-CEADE5601055}"/>
          </ac:spMkLst>
        </pc:spChg>
      </pc:sldChg>
      <pc:sldChg chg="new">
        <pc:chgData name="Eileen Fleming Suse" userId="S::efs3844@ads.northwestern.edu::725c94ef-d051-42d7-9d33-8572765d592b" providerId="AD" clId="Web-{525C70A3-2AD6-57EA-9F7E-A6FC0841DEBD}" dt="2023-10-23T22:59:48.498" v="14"/>
        <pc:sldMkLst>
          <pc:docMk/>
          <pc:sldMk cId="3067427377" sldId="560"/>
        </pc:sldMkLst>
      </pc:sldChg>
      <pc:sldChg chg="modSp new">
        <pc:chgData name="Eileen Fleming Suse" userId="S::efs3844@ads.northwestern.edu::725c94ef-d051-42d7-9d33-8572765d592b" providerId="AD" clId="Web-{525C70A3-2AD6-57EA-9F7E-A6FC0841DEBD}" dt="2023-10-23T23:00:13.859" v="18" actId="20577"/>
        <pc:sldMkLst>
          <pc:docMk/>
          <pc:sldMk cId="613071383" sldId="561"/>
        </pc:sldMkLst>
        <pc:spChg chg="mod">
          <ac:chgData name="Eileen Fleming Suse" userId="S::efs3844@ads.northwestern.edu::725c94ef-d051-42d7-9d33-8572765d592b" providerId="AD" clId="Web-{525C70A3-2AD6-57EA-9F7E-A6FC0841DEBD}" dt="2023-10-23T23:00:13.859" v="18" actId="20577"/>
          <ac:spMkLst>
            <pc:docMk/>
            <pc:sldMk cId="613071383" sldId="561"/>
            <ac:spMk id="2" creationId="{3E76F914-FD90-77EF-B54F-DA5B2A3B6B40}"/>
          </ac:spMkLst>
        </pc:spChg>
      </pc:sldChg>
      <pc:sldChg chg="modSp new mod modClrScheme chgLayout">
        <pc:chgData name="Eileen Fleming Suse" userId="S::efs3844@ads.northwestern.edu::725c94ef-d051-42d7-9d33-8572765d592b" providerId="AD" clId="Web-{525C70A3-2AD6-57EA-9F7E-A6FC0841DEBD}" dt="2023-10-23T23:00:26.391" v="20"/>
        <pc:sldMkLst>
          <pc:docMk/>
          <pc:sldMk cId="1141815353" sldId="562"/>
        </pc:sldMkLst>
        <pc:spChg chg="mod ord">
          <ac:chgData name="Eileen Fleming Suse" userId="S::efs3844@ads.northwestern.edu::725c94ef-d051-42d7-9d33-8572765d592b" providerId="AD" clId="Web-{525C70A3-2AD6-57EA-9F7E-A6FC0841DEBD}" dt="2023-10-23T23:00:26.391" v="20"/>
          <ac:spMkLst>
            <pc:docMk/>
            <pc:sldMk cId="1141815353" sldId="562"/>
            <ac:spMk id="2" creationId="{05579FEB-3306-A04E-6516-F16994F3B0F9}"/>
          </ac:spMkLst>
        </pc:spChg>
        <pc:spChg chg="mod ord">
          <ac:chgData name="Eileen Fleming Suse" userId="S::efs3844@ads.northwestern.edu::725c94ef-d051-42d7-9d33-8572765d592b" providerId="AD" clId="Web-{525C70A3-2AD6-57EA-9F7E-A6FC0841DEBD}" dt="2023-10-23T23:00:26.391" v="20"/>
          <ac:spMkLst>
            <pc:docMk/>
            <pc:sldMk cId="1141815353" sldId="562"/>
            <ac:spMk id="3" creationId="{FAB96473-F45F-5893-CEB0-FAFF66B2B444}"/>
          </ac:spMkLst>
        </pc:spChg>
      </pc:sldChg>
      <pc:sldMasterChg chg="addSldLayout">
        <pc:chgData name="Eileen Fleming Suse" userId="S::efs3844@ads.northwestern.edu::725c94ef-d051-42d7-9d33-8572765d592b" providerId="AD" clId="Web-{525C70A3-2AD6-57EA-9F7E-A6FC0841DEBD}" dt="2023-10-23T22:32:27.671" v="3"/>
        <pc:sldMasterMkLst>
          <pc:docMk/>
          <pc:sldMasterMk cId="3378073280" sldId="2147483756"/>
        </pc:sldMasterMkLst>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922533" sldId="2147483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5841725" sldId="2147483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10596175" sldId="2147483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16315189" sldId="2147483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08025" sldId="2147483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3792943" sldId="2147483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5092572" sldId="2147483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8716721" sldId="2147483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45037749" sldId="2147483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6002367" sldId="2147483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39855488" sldId="2147483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21826003" sldId="2147483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75499530" sldId="2147483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3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3561641" sldId="2147483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5267698" sldId="21474838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75297497" sldId="21474838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78663217" sldId="21474838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20774020" sldId="2147483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34594192" sldId="21474838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6315279" sldId="21474838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1317895" sldId="2147483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00288109" sldId="2147483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6376101" sldId="2147483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2886451" sldId="2147483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6159376" sldId="2147483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8616943" sldId="21474838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6938417" sldId="21474838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3550571" sldId="21474838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0877040" sldId="21474838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8574274" sldId="2147483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5471929" sldId="2147483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278594" sldId="2147483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9404483" sldId="2147483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3478424" sldId="21474838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59098044" sldId="21474838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45276364" sldId="21474838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8021461" sldId="21474838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989584" sldId="21474838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75864542" sldId="21474838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8282302" sldId="21474838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104982" sldId="21474838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5372134" sldId="21474838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7828020" sldId="21474838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27648628" sldId="21474838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6122543" sldId="21474838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2054694" sldId="21474838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9055294" sldId="21474838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6171260" sldId="21474838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0090535" sldId="21474838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7921214" sldId="21474838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920976" sldId="21474838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5804420" sldId="21474838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585276" sldId="21474839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09666298" sldId="21474839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6760714" sldId="21474839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5649411" sldId="2147483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1432267" sldId="2147483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80461207" sldId="2147483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3984959" sldId="2147483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066305" sldId="21474839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7638659" sldId="21474839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40099" sldId="2147483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8764591" sldId="2147483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19800057" sldId="21474839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11585504" sldId="2147483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22746103" sldId="21474839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5694009" sldId="21474839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54029526" sldId="21474839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9059292" sldId="21474839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4868132" sldId="21474839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0792940" sldId="21474839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783795" sldId="21474839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0660955" sldId="21474839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64467406" sldId="21474839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677796" sldId="21474839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1248361" sldId="2147483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1683148" sldId="2147483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6612349" sldId="2147483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1684694" sldId="2147483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2325930" sldId="2147483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981547" sldId="21474839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2479938" sldId="21474839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6296709" sldId="21474839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70922304" sldId="21474839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55432313" sldId="21474839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9056666" sldId="21474839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967696" sldId="21474839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446465" sldId="21474839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0798543" sldId="2147483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8675539" sldId="21474839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23011711" sldId="21474839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36372206" sldId="21474839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2031328" sldId="21474839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270537" sldId="21474839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4610509" sldId="21474839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50515904" sldId="21474839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53644344" sldId="21474839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30798206" sldId="21474839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2990995" sldId="21474839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53374" sldId="21474839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4834593" sldId="21474839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43003970" sldId="21474839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7355230" sldId="21474839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1400287" sldId="21474839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946972" sldId="21474839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1562560" sldId="21474839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6479413" sldId="21474839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9622913" sldId="21474839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7336188" sldId="21474839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520332" sldId="21474839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8489293" sldId="2147483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040569" sldId="21474839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21105823" sldId="2147483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5772397" sldId="2147483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1901327" sldId="2147483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1352467" sldId="2147483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2305507" sldId="2147483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45177511" sldId="21474839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6909929" sldId="21474839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8498237" sldId="21474839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6365882" sldId="21474839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08656322" sldId="21474839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0473943" sldId="2147483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5550117" sldId="2147484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5824695" sldId="2147484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42248109" sldId="2147484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8249061" sldId="21474840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5655145" sldId="21474840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2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4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2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3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3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3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3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3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3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3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3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3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43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3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4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43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4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4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3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4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3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4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3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4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4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4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4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4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4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5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5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5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5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5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5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6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6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6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46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46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46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6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6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46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46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6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7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7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7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7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7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7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7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8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8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8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8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8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48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8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8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8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8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48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4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4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2224325" sldId="2147484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10812348" sldId="2147484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4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5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5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5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5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5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5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5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8347992" sldId="2147485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018680" sldId="2147485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2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3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5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3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3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4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2254879" sldId="2147485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54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4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4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4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55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5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5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5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5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5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5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5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5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2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2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2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6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6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6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13001559" sldId="2147486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6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63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6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63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63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6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6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6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3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4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4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4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4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4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4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64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64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4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4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6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6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9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69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6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6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1410609" sldId="21474870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7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7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70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70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70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70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91578072" sldId="21474870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79854312" sldId="21474870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2318659" sldId="2147487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8904194" sldId="21474870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3035621" sldId="21474870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34488667" sldId="21474870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4238912" sldId="21474870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2020187" sldId="21474870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81955522" sldId="21474870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2453738" sldId="21474870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74233" sldId="21474870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1771967" sldId="21474870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14228870" sldId="21474870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8015493" sldId="21474870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1810783" sldId="21474870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296633" sldId="21474870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3854968" sldId="21474870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78744679" sldId="21474870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6376476" sldId="21474870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3775063" sldId="21474870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34956318" sldId="2147487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88786427" sldId="21474870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18415549" sldId="21474870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21326" sldId="21474870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71903" sldId="21474870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4324019" sldId="21474870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538390" sldId="21474870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1446120" sldId="21474870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32493380" sldId="21474870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45280055" sldId="21474870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48434812" sldId="21474870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5592603" sldId="21474870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2427770" sldId="2147487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94052774" sldId="2147487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7862978" sldId="2147487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877181" sldId="2147487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50889900" sldId="2147487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56107529" sldId="2147487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04698859" sldId="2147487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61201835" sldId="2147487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538182" sldId="2147487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45375" sldId="21474870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32901630" sldId="2147487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1840102" sldId="2147487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9779657" sldId="2147487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91043975" sldId="2147487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7739039" sldId="2147487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34936126" sldId="2147487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73437552" sldId="2147487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8328559" sldId="2147487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386569" sldId="2147487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65731875" sldId="2147487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43182943" sldId="21474870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854147" sldId="21474870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9986855" sldId="21474870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8186423" sldId="21474870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4781546" sldId="21474870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2901995" sldId="21474870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08658575" sldId="21474870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9532752" sldId="21474870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47643842" sldId="2147487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3045463" sldId="21474870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02931972" sldId="21474870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024431" sldId="21474870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5505364" sldId="21474870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60285631" sldId="21474870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8619597" sldId="21474870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82738" sldId="21474871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4587918" sldId="21474871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9084614" sldId="21474871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14221174" sldId="21474871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3290789" sldId="21474871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322304" sldId="21474871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03393694" sldId="21474871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2589500" sldId="21474871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53485271" sldId="21474871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95870651" sldId="21474871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28825244" sldId="21474871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9238068" sldId="21474871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49862182" sldId="21474871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3852016" sldId="21474871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3736809" sldId="21474871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4184684" sldId="21474871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9434678" sldId="21474871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68056590" sldId="21474871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19438968" sldId="21474871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3871782" sldId="21474871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5694493" sldId="21474871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3350505" sldId="21474871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99849130" sldId="21474871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1595628" sldId="21474871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09251650" sldId="21474871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2428475" sldId="21474871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9805404" sldId="21474871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702167" sldId="21474871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7713067" sldId="21474871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73097338" sldId="21474871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6179664" sldId="21474871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493336" sldId="21474871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4977627" sldId="21474871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4355322" sldId="21474871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9001456" sldId="21474871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1880748" sldId="21474871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9786099" sldId="21474871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9168792" sldId="21474871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8112831" sldId="21474871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3635138" sldId="21474871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2360139" sldId="21474871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39256970" sldId="21474871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04300062" sldId="21474871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71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71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71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1914057" sldId="21474871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4230286" sldId="2147487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2798914" sldId="21474871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1199215" sldId="21474871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515799" sldId="21474871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36128" sldId="21474871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3270214" sldId="21474871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964228" sldId="21474871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03719949" sldId="21474871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90515151" sldId="21474871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8274380" sldId="21474871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08841809" sldId="21474871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3686679" sldId="2147487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04450066" sldId="2147487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65481949" sldId="2147487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01019" sldId="2147487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7914573" sldId="2147487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2775852" sldId="21474872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7288010" sldId="21474872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25519462" sldId="21474872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98032396" sldId="2147487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4125666" sldId="2147487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25845292" sldId="2147487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388239" sldId="21474872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8412230" sldId="21474872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7651266" sldId="21474872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18896833" sldId="21474872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82089770" sldId="21474872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758517" sldId="2147487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3406442" sldId="2147487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7243743" sldId="2147487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65875377" sldId="2147487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4216092" sldId="21474872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1876091" sldId="21474872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1815734" sldId="21474872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5213743" sldId="21474872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114809" sldId="21474872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810016" sldId="2147487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47740735" sldId="21474872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95849402" sldId="2147487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2217939" sldId="21474872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9127" sldId="2147487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32741348" sldId="21474872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42047047" sldId="2147487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98479306" sldId="21474872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5636675" sldId="21474872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4065546" sldId="2147487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016611" sldId="21474872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954738" sldId="21474872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710091" sldId="21474872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2430371" sldId="21474872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88036761" sldId="2147487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2342115" sldId="2147487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4054778" sldId="2147487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6486368" sldId="21474872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70705443" sldId="21474872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020355" sldId="2147487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208845" sldId="2147487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29070028" sldId="2147487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9649185" sldId="2147487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8626561" sldId="2147487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6538025" sldId="2147487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4847678" sldId="2147487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3649414" sldId="2147487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7111013" sldId="21474872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00008366" sldId="21474872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18321361" sldId="21474872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9555195" sldId="21474872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1522953" sldId="21474872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668804" sldId="21474872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01862111" sldId="21474872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7949696" sldId="21474872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6907520" sldId="21474872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62774728" sldId="21474873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27363329" sldId="21474873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9463894" sldId="21474873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2727692" sldId="21474873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647170" sldId="21474873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6791542" sldId="21474873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69632276" sldId="21474873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43247745" sldId="21474873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63663494" sldId="21474873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7839732" sldId="21474873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29198981" sldId="21474873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0579671" sldId="21474873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1955889" sldId="21474873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69414299" sldId="21474873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972729" sldId="21474873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1926387" sldId="21474873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86669273" sldId="2147487349"/>
          </pc:sldLayoutMkLst>
        </pc:sldLayoutChg>
      </pc:sldMasterChg>
    </pc:docChg>
  </pc:docChgLst>
  <pc:docChgLst>
    <pc:chgData name="justin" userId="S::justin_josephsen.org#ext#@nuwildcat.onmicrosoft.com::59076b92-ce89-4586-91d8-5ddb5cd2b89a" providerId="AD" clId="Web-{6299E2EC-AA5F-793A-628C-EBCF8BF5D2B0}"/>
    <pc:docChg chg="modSld">
      <pc:chgData name="justin" userId="S::justin_josephsen.org#ext#@nuwildcat.onmicrosoft.com::59076b92-ce89-4586-91d8-5ddb5cd2b89a" providerId="AD" clId="Web-{6299E2EC-AA5F-793A-628C-EBCF8BF5D2B0}" dt="2023-11-20T14:40:33.879" v="1" actId="20577"/>
      <pc:docMkLst>
        <pc:docMk/>
      </pc:docMkLst>
      <pc:sldChg chg="modSp">
        <pc:chgData name="justin" userId="S::justin_josephsen.org#ext#@nuwildcat.onmicrosoft.com::59076b92-ce89-4586-91d8-5ddb5cd2b89a" providerId="AD" clId="Web-{6299E2EC-AA5F-793A-628C-EBCF8BF5D2B0}" dt="2023-11-20T14:40:33.879" v="1" actId="20577"/>
        <pc:sldMkLst>
          <pc:docMk/>
          <pc:sldMk cId="102026260" sldId="720"/>
        </pc:sldMkLst>
        <pc:spChg chg="mod">
          <ac:chgData name="justin" userId="S::justin_josephsen.org#ext#@nuwildcat.onmicrosoft.com::59076b92-ce89-4586-91d8-5ddb5cd2b89a" providerId="AD" clId="Web-{6299E2EC-AA5F-793A-628C-EBCF8BF5D2B0}" dt="2023-11-20T14:40:33.879" v="1" actId="20577"/>
          <ac:spMkLst>
            <pc:docMk/>
            <pc:sldMk cId="102026260" sldId="720"/>
            <ac:spMk id="9" creationId="{98150912-7A4D-8CF4-F429-183917B0EF9E}"/>
          </ac:spMkLst>
        </pc:spChg>
      </pc:sldChg>
    </pc:docChg>
  </pc:docChgLst>
  <pc:docChgLst>
    <pc:chgData name="Eileen Fleming Suse" userId="S::efs3844@ads.northwestern.edu::725c94ef-d051-42d7-9d33-8572765d592b" providerId="AD" clId="Web-{9EA480BD-2ABC-0E67-CCB3-672E9005EA21}"/>
    <pc:docChg chg="modSld">
      <pc:chgData name="Eileen Fleming Suse" userId="S::efs3844@ads.northwestern.edu::725c94ef-d051-42d7-9d33-8572765d592b" providerId="AD" clId="Web-{9EA480BD-2ABC-0E67-CCB3-672E9005EA21}" dt="2023-10-31T18:53:54.682" v="108" actId="20577"/>
      <pc:docMkLst>
        <pc:docMk/>
      </pc:docMkLst>
      <pc:sldChg chg="modNotes">
        <pc:chgData name="Eileen Fleming Suse" userId="S::efs3844@ads.northwestern.edu::725c94ef-d051-42d7-9d33-8572765d592b" providerId="AD" clId="Web-{9EA480BD-2ABC-0E67-CCB3-672E9005EA21}" dt="2023-10-31T18:38:51.875" v="17"/>
        <pc:sldMkLst>
          <pc:docMk/>
          <pc:sldMk cId="3536510335" sldId="553"/>
        </pc:sldMkLst>
      </pc:sldChg>
      <pc:sldChg chg="modNotes">
        <pc:chgData name="Eileen Fleming Suse" userId="S::efs3844@ads.northwestern.edu::725c94ef-d051-42d7-9d33-8572765d592b" providerId="AD" clId="Web-{9EA480BD-2ABC-0E67-CCB3-672E9005EA21}" dt="2023-10-31T18:42:48.819" v="18"/>
        <pc:sldMkLst>
          <pc:docMk/>
          <pc:sldMk cId="1514756035" sldId="556"/>
        </pc:sldMkLst>
      </pc:sldChg>
      <pc:sldChg chg="modSp">
        <pc:chgData name="Eileen Fleming Suse" userId="S::efs3844@ads.northwestern.edu::725c94ef-d051-42d7-9d33-8572765d592b" providerId="AD" clId="Web-{9EA480BD-2ABC-0E67-CCB3-672E9005EA21}" dt="2023-10-31T18:47:22.061" v="50" actId="20577"/>
        <pc:sldMkLst>
          <pc:docMk/>
          <pc:sldMk cId="3067427377" sldId="560"/>
        </pc:sldMkLst>
        <pc:spChg chg="mod">
          <ac:chgData name="Eileen Fleming Suse" userId="S::efs3844@ads.northwestern.edu::725c94ef-d051-42d7-9d33-8572765d592b" providerId="AD" clId="Web-{9EA480BD-2ABC-0E67-CCB3-672E9005EA21}" dt="2023-10-31T18:47:22.061" v="50" actId="20577"/>
          <ac:spMkLst>
            <pc:docMk/>
            <pc:sldMk cId="3067427377" sldId="560"/>
            <ac:spMk id="3" creationId="{E7ECD19B-85BC-6652-2856-676802964CFA}"/>
          </ac:spMkLst>
        </pc:spChg>
      </pc:sldChg>
      <pc:sldChg chg="modSp">
        <pc:chgData name="Eileen Fleming Suse" userId="S::efs3844@ads.northwestern.edu::725c94ef-d051-42d7-9d33-8572765d592b" providerId="AD" clId="Web-{9EA480BD-2ABC-0E67-CCB3-672E9005EA21}" dt="2023-10-31T18:46:04.106" v="29" actId="1076"/>
        <pc:sldMkLst>
          <pc:docMk/>
          <pc:sldMk cId="3809547791" sldId="586"/>
        </pc:sldMkLst>
        <pc:spChg chg="mod">
          <ac:chgData name="Eileen Fleming Suse" userId="S::efs3844@ads.northwestern.edu::725c94ef-d051-42d7-9d33-8572765d592b" providerId="AD" clId="Web-{9EA480BD-2ABC-0E67-CCB3-672E9005EA21}" dt="2023-10-31T18:46:04.106" v="29" actId="1076"/>
          <ac:spMkLst>
            <pc:docMk/>
            <pc:sldMk cId="3809547791" sldId="586"/>
            <ac:spMk id="38" creationId="{00000000-0000-0000-0000-000000000000}"/>
          </ac:spMkLst>
        </pc:spChg>
        <pc:spChg chg="mod">
          <ac:chgData name="Eileen Fleming Suse" userId="S::efs3844@ads.northwestern.edu::725c94ef-d051-42d7-9d33-8572765d592b" providerId="AD" clId="Web-{9EA480BD-2ABC-0E67-CCB3-672E9005EA21}" dt="2023-10-31T18:45:13.026" v="22" actId="14100"/>
          <ac:spMkLst>
            <pc:docMk/>
            <pc:sldMk cId="3809547791" sldId="586"/>
            <ac:spMk id="39" creationId="{00000000-0000-0000-0000-000000000000}"/>
          </ac:spMkLst>
        </pc:spChg>
        <pc:spChg chg="mod">
          <ac:chgData name="Eileen Fleming Suse" userId="S::efs3844@ads.northwestern.edu::725c94ef-d051-42d7-9d33-8572765d592b" providerId="AD" clId="Web-{9EA480BD-2ABC-0E67-CCB3-672E9005EA21}" dt="2023-10-31T18:45:53.184" v="27" actId="1076"/>
          <ac:spMkLst>
            <pc:docMk/>
            <pc:sldMk cId="3809547791" sldId="586"/>
            <ac:spMk id="40" creationId="{00000000-0000-0000-0000-000000000000}"/>
          </ac:spMkLst>
        </pc:spChg>
        <pc:spChg chg="mod">
          <ac:chgData name="Eileen Fleming Suse" userId="S::efs3844@ads.northwestern.edu::725c94ef-d051-42d7-9d33-8572765d592b" providerId="AD" clId="Web-{9EA480BD-2ABC-0E67-CCB3-672E9005EA21}" dt="2023-10-31T18:45:33.839" v="25" actId="14100"/>
          <ac:spMkLst>
            <pc:docMk/>
            <pc:sldMk cId="3809547791" sldId="586"/>
            <ac:spMk id="43" creationId="{00000000-0000-0000-0000-000000000000}"/>
          </ac:spMkLst>
        </pc:spChg>
        <pc:grpChg chg="mod">
          <ac:chgData name="Eileen Fleming Suse" userId="S::efs3844@ads.northwestern.edu::725c94ef-d051-42d7-9d33-8572765d592b" providerId="AD" clId="Web-{9EA480BD-2ABC-0E67-CCB3-672E9005EA21}" dt="2023-10-31T18:45:29.558" v="24" actId="14100"/>
          <ac:grpSpMkLst>
            <pc:docMk/>
            <pc:sldMk cId="3809547791" sldId="586"/>
            <ac:grpSpMk id="14" creationId="{00000000-0000-0000-0000-000000000000}"/>
          </ac:grpSpMkLst>
        </pc:grpChg>
        <pc:grpChg chg="mod">
          <ac:chgData name="Eileen Fleming Suse" userId="S::efs3844@ads.northwestern.edu::725c94ef-d051-42d7-9d33-8572765d592b" providerId="AD" clId="Web-{9EA480BD-2ABC-0E67-CCB3-672E9005EA21}" dt="2023-10-31T18:45:57.090" v="28" actId="14100"/>
          <ac:grpSpMkLst>
            <pc:docMk/>
            <pc:sldMk cId="3809547791" sldId="586"/>
            <ac:grpSpMk id="17" creationId="{00000000-0000-0000-0000-000000000000}"/>
          </ac:grpSpMkLst>
        </pc:grpChg>
        <pc:grpChg chg="mod">
          <ac:chgData name="Eileen Fleming Suse" userId="S::efs3844@ads.northwestern.edu::725c94ef-d051-42d7-9d33-8572765d592b" providerId="AD" clId="Web-{9EA480BD-2ABC-0E67-CCB3-672E9005EA21}" dt="2023-10-31T18:45:49.215" v="26" actId="1076"/>
          <ac:grpSpMkLst>
            <pc:docMk/>
            <pc:sldMk cId="3809547791" sldId="586"/>
            <ac:grpSpMk id="23" creationId="{00000000-0000-0000-0000-000000000000}"/>
          </ac:grpSpMkLst>
        </pc:grpChg>
      </pc:sldChg>
      <pc:sldChg chg="modSp">
        <pc:chgData name="Eileen Fleming Suse" userId="S::efs3844@ads.northwestern.edu::725c94ef-d051-42d7-9d33-8572765d592b" providerId="AD" clId="Web-{9EA480BD-2ABC-0E67-CCB3-672E9005EA21}" dt="2023-10-31T18:47:45.734" v="54" actId="1076"/>
        <pc:sldMkLst>
          <pc:docMk/>
          <pc:sldMk cId="2443892533" sldId="643"/>
        </pc:sldMkLst>
        <pc:spChg chg="mod">
          <ac:chgData name="Eileen Fleming Suse" userId="S::efs3844@ads.northwestern.edu::725c94ef-d051-42d7-9d33-8572765d592b" providerId="AD" clId="Web-{9EA480BD-2ABC-0E67-CCB3-672E9005EA21}" dt="2023-10-31T18:47:45.734" v="54" actId="1076"/>
          <ac:spMkLst>
            <pc:docMk/>
            <pc:sldMk cId="2443892533" sldId="643"/>
            <ac:spMk id="10" creationId="{F7DE78CF-32A6-61A0-EEC5-F837E089D3A4}"/>
          </ac:spMkLst>
        </pc:spChg>
      </pc:sldChg>
      <pc:sldChg chg="addSp modSp mod setBg">
        <pc:chgData name="Eileen Fleming Suse" userId="S::efs3844@ads.northwestern.edu::725c94ef-d051-42d7-9d33-8572765d592b" providerId="AD" clId="Web-{9EA480BD-2ABC-0E67-CCB3-672E9005EA21}" dt="2023-10-31T18:53:54.682" v="108" actId="20577"/>
        <pc:sldMkLst>
          <pc:docMk/>
          <pc:sldMk cId="1112761221" sldId="649"/>
        </pc:sldMkLst>
        <pc:spChg chg="mod">
          <ac:chgData name="Eileen Fleming Suse" userId="S::efs3844@ads.northwestern.edu::725c94ef-d051-42d7-9d33-8572765d592b" providerId="AD" clId="Web-{9EA480BD-2ABC-0E67-CCB3-672E9005EA21}" dt="2023-10-31T18:53:23.509" v="106"/>
          <ac:spMkLst>
            <pc:docMk/>
            <pc:sldMk cId="1112761221" sldId="649"/>
            <ac:spMk id="2" creationId="{5D725862-D9BC-0176-0EC2-CCE1E0651CF6}"/>
          </ac:spMkLst>
        </pc:spChg>
        <pc:spChg chg="mod">
          <ac:chgData name="Eileen Fleming Suse" userId="S::efs3844@ads.northwestern.edu::725c94ef-d051-42d7-9d33-8572765d592b" providerId="AD" clId="Web-{9EA480BD-2ABC-0E67-CCB3-672E9005EA21}" dt="2023-10-31T18:53:54.682" v="108" actId="20577"/>
          <ac:spMkLst>
            <pc:docMk/>
            <pc:sldMk cId="1112761221" sldId="649"/>
            <ac:spMk id="3" creationId="{6C9274D1-5B42-C3F3-28E1-C27E5991B53C}"/>
          </ac:spMkLst>
        </pc:spChg>
        <pc:spChg chg="mod ord">
          <ac:chgData name="Eileen Fleming Suse" userId="S::efs3844@ads.northwestern.edu::725c94ef-d051-42d7-9d33-8572765d592b" providerId="AD" clId="Web-{9EA480BD-2ABC-0E67-CCB3-672E9005EA21}" dt="2023-10-31T18:53:23.509" v="106"/>
          <ac:spMkLst>
            <pc:docMk/>
            <pc:sldMk cId="1112761221" sldId="649"/>
            <ac:spMk id="4" creationId="{63A013EC-D0C0-C69D-4DDA-EBB300A2CBEF}"/>
          </ac:spMkLst>
        </pc:spChg>
        <pc:spChg chg="mod">
          <ac:chgData name="Eileen Fleming Suse" userId="S::efs3844@ads.northwestern.edu::725c94ef-d051-42d7-9d33-8572765d592b" providerId="AD" clId="Web-{9EA480BD-2ABC-0E67-CCB3-672E9005EA21}" dt="2023-10-31T18:53:23.509" v="106"/>
          <ac:spMkLst>
            <pc:docMk/>
            <pc:sldMk cId="1112761221" sldId="649"/>
            <ac:spMk id="5" creationId="{2E91D297-9D05-16EF-3891-0E6C69C99EBA}"/>
          </ac:spMkLst>
        </pc:spChg>
        <pc:spChg chg="add">
          <ac:chgData name="Eileen Fleming Suse" userId="S::efs3844@ads.northwestern.edu::725c94ef-d051-42d7-9d33-8572765d592b" providerId="AD" clId="Web-{9EA480BD-2ABC-0E67-CCB3-672E9005EA21}" dt="2023-10-31T18:53:23.509" v="106"/>
          <ac:spMkLst>
            <pc:docMk/>
            <pc:sldMk cId="1112761221" sldId="649"/>
            <ac:spMk id="10" creationId="{FFD48BC7-DC40-47DE-87EE-9F4B6ECB9ABB}"/>
          </ac:spMkLst>
        </pc:spChg>
        <pc:spChg chg="add">
          <ac:chgData name="Eileen Fleming Suse" userId="S::efs3844@ads.northwestern.edu::725c94ef-d051-42d7-9d33-8572765d592b" providerId="AD" clId="Web-{9EA480BD-2ABC-0E67-CCB3-672E9005EA21}" dt="2023-10-31T18:53:23.509" v="106"/>
          <ac:spMkLst>
            <pc:docMk/>
            <pc:sldMk cId="1112761221" sldId="649"/>
            <ac:spMk id="12" creationId="{E502BBC7-2C76-46F3-BC24-5985BC13DB88}"/>
          </ac:spMkLst>
        </pc:spChg>
        <pc:spChg chg="add">
          <ac:chgData name="Eileen Fleming Suse" userId="S::efs3844@ads.northwestern.edu::725c94ef-d051-42d7-9d33-8572765d592b" providerId="AD" clId="Web-{9EA480BD-2ABC-0E67-CCB3-672E9005EA21}" dt="2023-10-31T18:53:23.509" v="106"/>
          <ac:spMkLst>
            <pc:docMk/>
            <pc:sldMk cId="1112761221" sldId="649"/>
            <ac:spMk id="14" creationId="{C7F28D52-2A5F-4D23-81AE-7CB8B591C7AF}"/>
          </ac:spMkLst>
        </pc:spChg>
        <pc:spChg chg="add">
          <ac:chgData name="Eileen Fleming Suse" userId="S::efs3844@ads.northwestern.edu::725c94ef-d051-42d7-9d33-8572765d592b" providerId="AD" clId="Web-{9EA480BD-2ABC-0E67-CCB3-672E9005EA21}" dt="2023-10-31T18:53:23.509" v="106"/>
          <ac:spMkLst>
            <pc:docMk/>
            <pc:sldMk cId="1112761221" sldId="649"/>
            <ac:spMk id="16" creationId="{3629484E-3792-4B3D-89AD-7C8A1ED0E0D4}"/>
          </ac:spMkLst>
        </pc:spChg>
      </pc:sldChg>
    </pc:docChg>
  </pc:docChgLst>
  <pc:docChgLst>
    <pc:chgData name="Eileen Fleming Suse" userId="S::efs3844@ads.northwestern.edu::725c94ef-d051-42d7-9d33-8572765d592b" providerId="AD" clId="Web-{0341ED96-5143-9562-5248-833DF36573A1}"/>
    <pc:docChg chg="delSld">
      <pc:chgData name="Eileen Fleming Suse" userId="S::efs3844@ads.northwestern.edu::725c94ef-d051-42d7-9d33-8572765d592b" providerId="AD" clId="Web-{0341ED96-5143-9562-5248-833DF36573A1}" dt="2023-10-23T23:48:58.023" v="0"/>
      <pc:docMkLst>
        <pc:docMk/>
      </pc:docMkLst>
      <pc:sldChg chg="del">
        <pc:chgData name="Eileen Fleming Suse" userId="S::efs3844@ads.northwestern.edu::725c94ef-d051-42d7-9d33-8572765d592b" providerId="AD" clId="Web-{0341ED96-5143-9562-5248-833DF36573A1}" dt="2023-10-23T23:48:58.023" v="0"/>
        <pc:sldMkLst>
          <pc:docMk/>
          <pc:sldMk cId="202185053" sldId="559"/>
        </pc:sldMkLst>
      </pc:sldChg>
    </pc:docChg>
  </pc:docChgLst>
  <pc:docChgLst>
    <pc:chgData name="Caldarelli, Leslie" userId="S::lcaldarelli_luriechildrens.org#ext#@nuwildcat.onmicrosoft.com::cd79b54d-c14e-4199-a04a-39c6f592e710" providerId="AD" clId="Web-{BC047B72-8F18-01C2-FA60-A38A99380270}"/>
    <pc:docChg chg="modSld sldOrd">
      <pc:chgData name="Caldarelli, Leslie" userId="S::lcaldarelli_luriechildrens.org#ext#@nuwildcat.onmicrosoft.com::cd79b54d-c14e-4199-a04a-39c6f592e710" providerId="AD" clId="Web-{BC047B72-8F18-01C2-FA60-A38A99380270}" dt="2023-10-31T04:33:13.252" v="935" actId="20577"/>
      <pc:docMkLst>
        <pc:docMk/>
      </pc:docMkLst>
      <pc:sldChg chg="modSp">
        <pc:chgData name="Caldarelli, Leslie" userId="S::lcaldarelli_luriechildrens.org#ext#@nuwildcat.onmicrosoft.com::cd79b54d-c14e-4199-a04a-39c6f592e710" providerId="AD" clId="Web-{BC047B72-8F18-01C2-FA60-A38A99380270}" dt="2023-10-31T02:08:33.719" v="18" actId="20577"/>
        <pc:sldMkLst>
          <pc:docMk/>
          <pc:sldMk cId="4044691067" sldId="283"/>
        </pc:sldMkLst>
        <pc:spChg chg="mod">
          <ac:chgData name="Caldarelli, Leslie" userId="S::lcaldarelli_luriechildrens.org#ext#@nuwildcat.onmicrosoft.com::cd79b54d-c14e-4199-a04a-39c6f592e710" providerId="AD" clId="Web-{BC047B72-8F18-01C2-FA60-A38A99380270}" dt="2023-10-31T02:08:26.734" v="17" actId="1076"/>
          <ac:spMkLst>
            <pc:docMk/>
            <pc:sldMk cId="4044691067" sldId="283"/>
            <ac:spMk id="3" creationId="{00000000-0000-0000-0000-000000000000}"/>
          </ac:spMkLst>
        </pc:spChg>
        <pc:spChg chg="mod">
          <ac:chgData name="Caldarelli, Leslie" userId="S::lcaldarelli_luriechildrens.org#ext#@nuwildcat.onmicrosoft.com::cd79b54d-c14e-4199-a04a-39c6f592e710" providerId="AD" clId="Web-{BC047B72-8F18-01C2-FA60-A38A99380270}" dt="2023-10-31T02:08:33.719" v="18" actId="20577"/>
          <ac:spMkLst>
            <pc:docMk/>
            <pc:sldMk cId="4044691067" sldId="283"/>
            <ac:spMk id="16386" creationId="{00000000-0000-0000-0000-000000000000}"/>
          </ac:spMkLst>
        </pc:spChg>
        <pc:spChg chg="mod">
          <ac:chgData name="Caldarelli, Leslie" userId="S::lcaldarelli_luriechildrens.org#ext#@nuwildcat.onmicrosoft.com::cd79b54d-c14e-4199-a04a-39c6f592e710" providerId="AD" clId="Web-{BC047B72-8F18-01C2-FA60-A38A99380270}" dt="2023-10-31T02:06:09.934" v="6" actId="1076"/>
          <ac:spMkLst>
            <pc:docMk/>
            <pc:sldMk cId="4044691067" sldId="283"/>
            <ac:spMk id="1638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2:10:51.238" v="39" actId="20577"/>
        <pc:sldMkLst>
          <pc:docMk/>
          <pc:sldMk cId="3635595752" sldId="545"/>
        </pc:sldMkLst>
        <pc:spChg chg="mod">
          <ac:chgData name="Caldarelli, Leslie" userId="S::lcaldarelli_luriechildrens.org#ext#@nuwildcat.onmicrosoft.com::cd79b54d-c14e-4199-a04a-39c6f592e710" providerId="AD" clId="Web-{BC047B72-8F18-01C2-FA60-A38A99380270}" dt="2023-10-31T02:10:51.238" v="39" actId="20577"/>
          <ac:spMkLst>
            <pc:docMk/>
            <pc:sldMk cId="3635595752" sldId="545"/>
            <ac:spMk id="3" creationId="{BFE56240-A306-0E11-425A-7323821A42F2}"/>
          </ac:spMkLst>
        </pc:spChg>
      </pc:sldChg>
      <pc:sldChg chg="modSp">
        <pc:chgData name="Caldarelli, Leslie" userId="S::lcaldarelli_luriechildrens.org#ext#@nuwildcat.onmicrosoft.com::cd79b54d-c14e-4199-a04a-39c6f592e710" providerId="AD" clId="Web-{BC047B72-8F18-01C2-FA60-A38A99380270}" dt="2023-10-31T03:23:30.003" v="188" actId="20577"/>
        <pc:sldMkLst>
          <pc:docMk/>
          <pc:sldMk cId="1036043289" sldId="546"/>
        </pc:sldMkLst>
        <pc:spChg chg="mod">
          <ac:chgData name="Caldarelli, Leslie" userId="S::lcaldarelli_luriechildrens.org#ext#@nuwildcat.onmicrosoft.com::cd79b54d-c14e-4199-a04a-39c6f592e710" providerId="AD" clId="Web-{BC047B72-8F18-01C2-FA60-A38A99380270}" dt="2023-10-31T03:23:30.003" v="188" actId="20577"/>
          <ac:spMkLst>
            <pc:docMk/>
            <pc:sldMk cId="1036043289" sldId="546"/>
            <ac:spMk id="3" creationId="{BACE41BD-1CAE-1299-918F-5B1678DE12B4}"/>
          </ac:spMkLst>
        </pc:spChg>
      </pc:sldChg>
      <pc:sldChg chg="modSp modNotes">
        <pc:chgData name="Caldarelli, Leslie" userId="S::lcaldarelli_luriechildrens.org#ext#@nuwildcat.onmicrosoft.com::cd79b54d-c14e-4199-a04a-39c6f592e710" providerId="AD" clId="Web-{BC047B72-8F18-01C2-FA60-A38A99380270}" dt="2023-10-31T04:32:19.657" v="874"/>
        <pc:sldMkLst>
          <pc:docMk/>
          <pc:sldMk cId="3745706804" sldId="548"/>
        </pc:sldMkLst>
        <pc:spChg chg="mod">
          <ac:chgData name="Caldarelli, Leslie" userId="S::lcaldarelli_luriechildrens.org#ext#@nuwildcat.onmicrosoft.com::cd79b54d-c14e-4199-a04a-39c6f592e710" providerId="AD" clId="Web-{BC047B72-8F18-01C2-FA60-A38A99380270}" dt="2023-10-31T04:30:45.872" v="852" actId="20577"/>
          <ac:spMkLst>
            <pc:docMk/>
            <pc:sldMk cId="3745706804" sldId="548"/>
            <ac:spMk id="2" creationId="{C2B429CC-FC8C-ECA7-15C8-7563C27BFB95}"/>
          </ac:spMkLst>
        </pc:spChg>
        <pc:spChg chg="mod">
          <ac:chgData name="Caldarelli, Leslie" userId="S::lcaldarelli_luriechildrens.org#ext#@nuwildcat.onmicrosoft.com::cd79b54d-c14e-4199-a04a-39c6f592e710" providerId="AD" clId="Web-{BC047B72-8F18-01C2-FA60-A38A99380270}" dt="2023-10-31T04:30:54.388" v="855" actId="20577"/>
          <ac:spMkLst>
            <pc:docMk/>
            <pc:sldMk cId="3745706804" sldId="548"/>
            <ac:spMk id="3" creationId="{C0454086-94BF-0693-766D-F1659194519A}"/>
          </ac:spMkLst>
        </pc:spChg>
      </pc:sldChg>
      <pc:sldChg chg="modSp">
        <pc:chgData name="Caldarelli, Leslie" userId="S::lcaldarelli_luriechildrens.org#ext#@nuwildcat.onmicrosoft.com::cd79b54d-c14e-4199-a04a-39c6f592e710" providerId="AD" clId="Web-{BC047B72-8F18-01C2-FA60-A38A99380270}" dt="2023-10-31T04:33:03.893" v="911" actId="20577"/>
        <pc:sldMkLst>
          <pc:docMk/>
          <pc:sldMk cId="3962270618" sldId="549"/>
        </pc:sldMkLst>
        <pc:spChg chg="mod">
          <ac:chgData name="Caldarelli, Leslie" userId="S::lcaldarelli_luriechildrens.org#ext#@nuwildcat.onmicrosoft.com::cd79b54d-c14e-4199-a04a-39c6f592e710" providerId="AD" clId="Web-{BC047B72-8F18-01C2-FA60-A38A99380270}" dt="2023-10-31T04:33:03.893" v="911"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BC047B72-8F18-01C2-FA60-A38A99380270}" dt="2023-10-31T04:33:03.221" v="899" actId="1076"/>
          <ac:spMkLst>
            <pc:docMk/>
            <pc:sldMk cId="3962270618" sldId="549"/>
            <ac:spMk id="3" creationId="{CBB95935-58B8-573E-DAFB-D9AE51F0FF09}"/>
          </ac:spMkLst>
        </pc:spChg>
      </pc:sldChg>
      <pc:sldChg chg="modSp">
        <pc:chgData name="Caldarelli, Leslie" userId="S::lcaldarelli_luriechildrens.org#ext#@nuwildcat.onmicrosoft.com::cd79b54d-c14e-4199-a04a-39c6f592e710" providerId="AD" clId="Web-{BC047B72-8F18-01C2-FA60-A38A99380270}" dt="2023-10-31T04:32:54.002" v="879" actId="20577"/>
        <pc:sldMkLst>
          <pc:docMk/>
          <pc:sldMk cId="3472964082" sldId="550"/>
        </pc:sldMkLst>
        <pc:spChg chg="mod">
          <ac:chgData name="Caldarelli, Leslie" userId="S::lcaldarelli_luriechildrens.org#ext#@nuwildcat.onmicrosoft.com::cd79b54d-c14e-4199-a04a-39c6f592e710" providerId="AD" clId="Web-{BC047B72-8F18-01C2-FA60-A38A99380270}" dt="2023-10-31T04:32:54.002" v="879" actId="20577"/>
          <ac:spMkLst>
            <pc:docMk/>
            <pc:sldMk cId="3472964082" sldId="550"/>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32:45.548" v="878" actId="14100"/>
        <pc:sldMkLst>
          <pc:docMk/>
          <pc:sldMk cId="2562283095" sldId="551"/>
        </pc:sldMkLst>
        <pc:spChg chg="mod">
          <ac:chgData name="Caldarelli, Leslie" userId="S::lcaldarelli_luriechildrens.org#ext#@nuwildcat.onmicrosoft.com::cd79b54d-c14e-4199-a04a-39c6f592e710" providerId="AD" clId="Web-{BC047B72-8F18-01C2-FA60-A38A99380270}" dt="2023-10-31T04:32:45.548" v="878" actId="14100"/>
          <ac:spMkLst>
            <pc:docMk/>
            <pc:sldMk cId="2562283095" sldId="551"/>
            <ac:spMk id="53"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10:18.471" v="119"/>
        <pc:sldMkLst>
          <pc:docMk/>
          <pc:sldMk cId="714682852" sldId="552"/>
        </pc:sldMkLst>
        <pc:spChg chg="mod">
          <ac:chgData name="Caldarelli, Leslie" userId="S::lcaldarelli_luriechildrens.org#ext#@nuwildcat.onmicrosoft.com::cd79b54d-c14e-4199-a04a-39c6f592e710" providerId="AD" clId="Web-{BC047B72-8F18-01C2-FA60-A38A99380270}" dt="2023-10-31T03:04:54.368" v="85" actId="20577"/>
          <ac:spMkLst>
            <pc:docMk/>
            <pc:sldMk cId="714682852" sldId="552"/>
            <ac:spMk id="2" creationId="{966FAC69-62AA-D40E-C4BD-DAD5BF599C69}"/>
          </ac:spMkLst>
        </pc:spChg>
        <pc:spChg chg="mod">
          <ac:chgData name="Caldarelli, Leslie" userId="S::lcaldarelli_luriechildrens.org#ext#@nuwildcat.onmicrosoft.com::cd79b54d-c14e-4199-a04a-39c6f592e710" providerId="AD" clId="Web-{BC047B72-8F18-01C2-FA60-A38A99380270}" dt="2023-10-31T03:06:44.091" v="95" actId="1076"/>
          <ac:spMkLst>
            <pc:docMk/>
            <pc:sldMk cId="714682852" sldId="552"/>
            <ac:spMk id="6" creationId="{D07E332C-4452-C8D5-59CC-C21023DE9083}"/>
          </ac:spMkLst>
        </pc:spChg>
        <pc:spChg chg="mod">
          <ac:chgData name="Caldarelli, Leslie" userId="S::lcaldarelli_luriechildrens.org#ext#@nuwildcat.onmicrosoft.com::cd79b54d-c14e-4199-a04a-39c6f592e710" providerId="AD" clId="Web-{BC047B72-8F18-01C2-FA60-A38A99380270}" dt="2023-10-31T03:09:24.017" v="118" actId="20577"/>
          <ac:spMkLst>
            <pc:docMk/>
            <pc:sldMk cId="714682852" sldId="552"/>
            <ac:spMk id="19" creationId="{8F56D947-B18E-6292-FB32-17E6BBE1C7B7}"/>
          </ac:spMkLst>
        </pc:spChg>
        <pc:spChg chg="mod">
          <ac:chgData name="Caldarelli, Leslie" userId="S::lcaldarelli_luriechildrens.org#ext#@nuwildcat.onmicrosoft.com::cd79b54d-c14e-4199-a04a-39c6f592e710" providerId="AD" clId="Web-{BC047B72-8F18-01C2-FA60-A38A99380270}" dt="2023-10-31T03:09:13.643" v="117" actId="14100"/>
          <ac:spMkLst>
            <pc:docMk/>
            <pc:sldMk cId="714682852" sldId="552"/>
            <ac:spMk id="20" creationId="{A9936A2B-2042-0897-3CCF-AC6DEB6DE9D0}"/>
          </ac:spMkLst>
        </pc:spChg>
        <pc:spChg chg="mod">
          <ac:chgData name="Caldarelli, Leslie" userId="S::lcaldarelli_luriechildrens.org#ext#@nuwildcat.onmicrosoft.com::cd79b54d-c14e-4199-a04a-39c6f592e710" providerId="AD" clId="Web-{BC047B72-8F18-01C2-FA60-A38A99380270}" dt="2023-10-31T03:06:05.964" v="93" actId="1076"/>
          <ac:spMkLst>
            <pc:docMk/>
            <pc:sldMk cId="714682852" sldId="552"/>
            <ac:spMk id="23" creationId="{01161B8F-C665-1E6B-2E22-400EFC600810}"/>
          </ac:spMkLst>
        </pc:spChg>
        <pc:spChg chg="mod">
          <ac:chgData name="Caldarelli, Leslie" userId="S::lcaldarelli_luriechildrens.org#ext#@nuwildcat.onmicrosoft.com::cd79b54d-c14e-4199-a04a-39c6f592e710" providerId="AD" clId="Web-{BC047B72-8F18-01C2-FA60-A38A99380270}" dt="2023-10-31T03:06:32.028" v="94" actId="1076"/>
          <ac:spMkLst>
            <pc:docMk/>
            <pc:sldMk cId="714682852" sldId="552"/>
            <ac:spMk id="39" creationId="{E29ABAB9-1C54-B808-EDD4-5D83CC77687C}"/>
          </ac:spMkLst>
        </pc:spChg>
      </pc:sldChg>
      <pc:sldChg chg="modSp">
        <pc:chgData name="Caldarelli, Leslie" userId="S::lcaldarelli_luriechildrens.org#ext#@nuwildcat.onmicrosoft.com::cd79b54d-c14e-4199-a04a-39c6f592e710" providerId="AD" clId="Web-{BC047B72-8F18-01C2-FA60-A38A99380270}" dt="2023-10-31T04:02:15.418" v="537" actId="1076"/>
        <pc:sldMkLst>
          <pc:docMk/>
          <pc:sldMk cId="3536510335" sldId="553"/>
        </pc:sldMkLst>
        <pc:spChg chg="mod">
          <ac:chgData name="Caldarelli, Leslie" userId="S::lcaldarelli_luriechildrens.org#ext#@nuwildcat.onmicrosoft.com::cd79b54d-c14e-4199-a04a-39c6f592e710" providerId="AD" clId="Web-{BC047B72-8F18-01C2-FA60-A38A99380270}" dt="2023-10-31T03:22:55.767" v="184" actId="1076"/>
          <ac:spMkLst>
            <pc:docMk/>
            <pc:sldMk cId="3536510335" sldId="553"/>
            <ac:spMk id="3" creationId="{DF1C7F80-41A4-BEE0-AE4A-B924B459AE73}"/>
          </ac:spMkLst>
        </pc:spChg>
        <pc:spChg chg="mod">
          <ac:chgData name="Caldarelli, Leslie" userId="S::lcaldarelli_luriechildrens.org#ext#@nuwildcat.onmicrosoft.com::cd79b54d-c14e-4199-a04a-39c6f592e710" providerId="AD" clId="Web-{BC047B72-8F18-01C2-FA60-A38A99380270}" dt="2023-10-31T04:02:15.418" v="537" actId="1076"/>
          <ac:spMkLst>
            <pc:docMk/>
            <pc:sldMk cId="3536510335" sldId="553"/>
            <ac:spMk id="10" creationId="{7FA2B65B-6DF5-1F48-C692-646D2CEF0E2F}"/>
          </ac:spMkLst>
        </pc:spChg>
        <pc:spChg chg="mod">
          <ac:chgData name="Caldarelli, Leslie" userId="S::lcaldarelli_luriechildrens.org#ext#@nuwildcat.onmicrosoft.com::cd79b54d-c14e-4199-a04a-39c6f592e710" providerId="AD" clId="Web-{BC047B72-8F18-01C2-FA60-A38A99380270}" dt="2023-10-31T03:23:04.314" v="185" actId="1076"/>
          <ac:spMkLst>
            <pc:docMk/>
            <pc:sldMk cId="3536510335" sldId="553"/>
            <ac:spMk id="11" creationId="{50FB034E-6814-0511-ABE9-55AF46337AE4}"/>
          </ac:spMkLst>
        </pc:spChg>
      </pc:sldChg>
      <pc:sldChg chg="modSp modNotes">
        <pc:chgData name="Caldarelli, Leslie" userId="S::lcaldarelli_luriechildrens.org#ext#@nuwildcat.onmicrosoft.com::cd79b54d-c14e-4199-a04a-39c6f592e710" providerId="AD" clId="Web-{BC047B72-8F18-01C2-FA60-A38A99380270}" dt="2023-10-31T03:17:05.691" v="150"/>
        <pc:sldMkLst>
          <pc:docMk/>
          <pc:sldMk cId="1231844700" sldId="554"/>
        </pc:sldMkLst>
        <pc:spChg chg="mod">
          <ac:chgData name="Caldarelli, Leslie" userId="S::lcaldarelli_luriechildrens.org#ext#@nuwildcat.onmicrosoft.com::cd79b54d-c14e-4199-a04a-39c6f592e710" providerId="AD" clId="Web-{BC047B72-8F18-01C2-FA60-A38A99380270}" dt="2023-10-31T03:16:56.675" v="149" actId="14100"/>
          <ac:spMkLst>
            <pc:docMk/>
            <pc:sldMk cId="1231844700" sldId="554"/>
            <ac:spMk id="2" creationId="{61FD53C4-A666-522F-F9AB-081D90D541D1}"/>
          </ac:spMkLst>
        </pc:spChg>
      </pc:sldChg>
      <pc:sldChg chg="addSp delSp modSp">
        <pc:chgData name="Caldarelli, Leslie" userId="S::lcaldarelli_luriechildrens.org#ext#@nuwildcat.onmicrosoft.com::cd79b54d-c14e-4199-a04a-39c6f592e710" providerId="AD" clId="Web-{BC047B72-8F18-01C2-FA60-A38A99380270}" dt="2023-10-31T03:16:11.346" v="143" actId="20577"/>
        <pc:sldMkLst>
          <pc:docMk/>
          <pc:sldMk cId="1522616096" sldId="555"/>
        </pc:sldMkLst>
        <pc:spChg chg="mod">
          <ac:chgData name="Caldarelli, Leslie" userId="S::lcaldarelli_luriechildrens.org#ext#@nuwildcat.onmicrosoft.com::cd79b54d-c14e-4199-a04a-39c6f592e710" providerId="AD" clId="Web-{BC047B72-8F18-01C2-FA60-A38A99380270}" dt="2023-10-31T03:10:36.831" v="120" actId="20577"/>
          <ac:spMkLst>
            <pc:docMk/>
            <pc:sldMk cId="1522616096" sldId="555"/>
            <ac:spMk id="2" creationId="{F40AE700-1499-46B3-C70A-C723802CD680}"/>
          </ac:spMkLst>
        </pc:spChg>
        <pc:spChg chg="del">
          <ac:chgData name="Caldarelli, Leslie" userId="S::lcaldarelli_luriechildrens.org#ext#@nuwildcat.onmicrosoft.com::cd79b54d-c14e-4199-a04a-39c6f592e710" providerId="AD" clId="Web-{BC047B72-8F18-01C2-FA60-A38A99380270}" dt="2023-10-31T03:11:02.722" v="121"/>
          <ac:spMkLst>
            <pc:docMk/>
            <pc:sldMk cId="1522616096" sldId="555"/>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4:41.121" v="132" actId="20577"/>
          <ac:spMkLst>
            <pc:docMk/>
            <pc:sldMk cId="1522616096" sldId="555"/>
            <ac:spMk id="4" creationId="{3D49CA6C-78ED-3124-7EE3-BBDDC9988910}"/>
          </ac:spMkLst>
        </pc:spChg>
        <pc:spChg chg="add del mod">
          <ac:chgData name="Caldarelli, Leslie" userId="S::lcaldarelli_luriechildrens.org#ext#@nuwildcat.onmicrosoft.com::cd79b54d-c14e-4199-a04a-39c6f592e710" providerId="AD" clId="Web-{BC047B72-8F18-01C2-FA60-A38A99380270}" dt="2023-10-31T03:11:32.879" v="126"/>
          <ac:spMkLst>
            <pc:docMk/>
            <pc:sldMk cId="1522616096" sldId="555"/>
            <ac:spMk id="10" creationId="{055319F5-46DE-86F3-1826-03B62D23B87B}"/>
          </ac:spMkLst>
        </pc:spChg>
        <pc:spChg chg="add mod">
          <ac:chgData name="Caldarelli, Leslie" userId="S::lcaldarelli_luriechildrens.org#ext#@nuwildcat.onmicrosoft.com::cd79b54d-c14e-4199-a04a-39c6f592e710" providerId="AD" clId="Web-{BC047B72-8F18-01C2-FA60-A38A99380270}" dt="2023-10-31T03:16:11.346" v="143" actId="20577"/>
          <ac:spMkLst>
            <pc:docMk/>
            <pc:sldMk cId="1522616096" sldId="555"/>
            <ac:spMk id="12" creationId="{FFCC26E6-1C5C-8419-8626-BD0157947192}"/>
          </ac:spMkLst>
        </pc:spChg>
      </pc:sldChg>
      <pc:sldChg chg="modSp modNotes">
        <pc:chgData name="Caldarelli, Leslie" userId="S::lcaldarelli_luriechildrens.org#ext#@nuwildcat.onmicrosoft.com::cd79b54d-c14e-4199-a04a-39c6f592e710" providerId="AD" clId="Web-{BC047B72-8F18-01C2-FA60-A38A99380270}" dt="2023-10-31T03:53:07.538" v="468"/>
        <pc:sldMkLst>
          <pc:docMk/>
          <pc:sldMk cId="1514756035" sldId="556"/>
        </pc:sldMkLst>
        <pc:spChg chg="mod">
          <ac:chgData name="Caldarelli, Leslie" userId="S::lcaldarelli_luriechildrens.org#ext#@nuwildcat.onmicrosoft.com::cd79b54d-c14e-4199-a04a-39c6f592e710" providerId="AD" clId="Web-{BC047B72-8F18-01C2-FA60-A38A99380270}" dt="2023-10-31T02:12:25.897" v="46" actId="14100"/>
          <ac:spMkLst>
            <pc:docMk/>
            <pc:sldMk cId="1514756035" sldId="556"/>
            <ac:spMk id="2" creationId="{8C7182B8-D745-6D49-E823-6B4C357520BB}"/>
          </ac:spMkLst>
        </pc:spChg>
        <pc:spChg chg="mod">
          <ac:chgData name="Caldarelli, Leslie" userId="S::lcaldarelli_luriechildrens.org#ext#@nuwildcat.onmicrosoft.com::cd79b54d-c14e-4199-a04a-39c6f592e710" providerId="AD" clId="Web-{BC047B72-8F18-01C2-FA60-A38A99380270}" dt="2023-10-31T03:03:46.193" v="71" actId="20577"/>
          <ac:spMkLst>
            <pc:docMk/>
            <pc:sldMk cId="1514756035" sldId="556"/>
            <ac:spMk id="48" creationId="{9DA002CE-213B-0EFE-03DC-C3DB65BCF003}"/>
          </ac:spMkLst>
        </pc:spChg>
        <pc:spChg chg="mod">
          <ac:chgData name="Caldarelli, Leslie" userId="S::lcaldarelli_luriechildrens.org#ext#@nuwildcat.onmicrosoft.com::cd79b54d-c14e-4199-a04a-39c6f592e710" providerId="AD" clId="Web-{BC047B72-8F18-01C2-FA60-A38A99380270}" dt="2023-10-31T03:03:03.004" v="65" actId="1076"/>
          <ac:spMkLst>
            <pc:docMk/>
            <pc:sldMk cId="1514756035" sldId="556"/>
            <ac:spMk id="50" creationId="{484FA518-5005-04AD-A148-23B555389D18}"/>
          </ac:spMkLst>
        </pc:spChg>
      </pc:sldChg>
      <pc:sldChg chg="modSp">
        <pc:chgData name="Caldarelli, Leslie" userId="S::lcaldarelli_luriechildrens.org#ext#@nuwildcat.onmicrosoft.com::cd79b54d-c14e-4199-a04a-39c6f592e710" providerId="AD" clId="Web-{BC047B72-8F18-01C2-FA60-A38A99380270}" dt="2023-10-31T03:18:25.335" v="158" actId="20577"/>
        <pc:sldMkLst>
          <pc:docMk/>
          <pc:sldMk cId="773696652" sldId="558"/>
        </pc:sldMkLst>
        <pc:spChg chg="mod">
          <ac:chgData name="Caldarelli, Leslie" userId="S::lcaldarelli_luriechildrens.org#ext#@nuwildcat.onmicrosoft.com::cd79b54d-c14e-4199-a04a-39c6f592e710" providerId="AD" clId="Web-{BC047B72-8F18-01C2-FA60-A38A99380270}" dt="2023-10-31T03:17:23.426" v="151" actId="20577"/>
          <ac:spMkLst>
            <pc:docMk/>
            <pc:sldMk cId="773696652" sldId="558"/>
            <ac:spMk id="2" creationId="{F40AE700-1499-46B3-C70A-C723802CD680}"/>
          </ac:spMkLst>
        </pc:spChg>
        <pc:spChg chg="mod">
          <ac:chgData name="Caldarelli, Leslie" userId="S::lcaldarelli_luriechildrens.org#ext#@nuwildcat.onmicrosoft.com::cd79b54d-c14e-4199-a04a-39c6f592e710" providerId="AD" clId="Web-{BC047B72-8F18-01C2-FA60-A38A99380270}" dt="2023-10-31T03:18:25.335" v="158" actId="20577"/>
          <ac:spMkLst>
            <pc:docMk/>
            <pc:sldMk cId="773696652" sldId="558"/>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8:16.382" v="157" actId="20577"/>
          <ac:spMkLst>
            <pc:docMk/>
            <pc:sldMk cId="773696652" sldId="558"/>
            <ac:spMk id="5" creationId="{19C1D751-08DD-BD76-1181-C434C9849C27}"/>
          </ac:spMkLst>
        </pc:spChg>
        <pc:spChg chg="mod">
          <ac:chgData name="Caldarelli, Leslie" userId="S::lcaldarelli_luriechildrens.org#ext#@nuwildcat.onmicrosoft.com::cd79b54d-c14e-4199-a04a-39c6f592e710" providerId="AD" clId="Web-{BC047B72-8F18-01C2-FA60-A38A99380270}" dt="2023-10-31T03:17:58.615" v="154" actId="1076"/>
          <ac:spMkLst>
            <pc:docMk/>
            <pc:sldMk cId="773696652" sldId="558"/>
            <ac:spMk id="7" creationId="{98AEAD99-3E06-8D3F-3F0C-CDC9176523B6}"/>
          </ac:spMkLst>
        </pc:spChg>
      </pc:sldChg>
      <pc:sldChg chg="modSp">
        <pc:chgData name="Caldarelli, Leslie" userId="S::lcaldarelli_luriechildrens.org#ext#@nuwildcat.onmicrosoft.com::cd79b54d-c14e-4199-a04a-39c6f592e710" providerId="AD" clId="Web-{BC047B72-8F18-01C2-FA60-A38A99380270}" dt="2023-10-31T04:33:03.814" v="908" actId="20577"/>
        <pc:sldMkLst>
          <pc:docMk/>
          <pc:sldMk cId="3067427377" sldId="560"/>
        </pc:sldMkLst>
        <pc:spChg chg="mod">
          <ac:chgData name="Caldarelli, Leslie" userId="S::lcaldarelli_luriechildrens.org#ext#@nuwildcat.onmicrosoft.com::cd79b54d-c14e-4199-a04a-39c6f592e710" providerId="AD" clId="Web-{BC047B72-8F18-01C2-FA60-A38A99380270}" dt="2023-10-31T04:33:03.814" v="908"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BC047B72-8F18-01C2-FA60-A38A99380270}" dt="2023-10-31T04:12:21.956" v="658" actId="14100"/>
        <pc:sldMkLst>
          <pc:docMk/>
          <pc:sldMk cId="3845418986" sldId="563"/>
        </pc:sldMkLst>
        <pc:spChg chg="mod">
          <ac:chgData name="Caldarelli, Leslie" userId="S::lcaldarelli_luriechildrens.org#ext#@nuwildcat.onmicrosoft.com::cd79b54d-c14e-4199-a04a-39c6f592e710" providerId="AD" clId="Web-{BC047B72-8F18-01C2-FA60-A38A99380270}" dt="2023-10-31T04:12:21.956" v="658" actId="14100"/>
          <ac:spMkLst>
            <pc:docMk/>
            <pc:sldMk cId="3845418986" sldId="563"/>
            <ac:spMk id="33" creationId="{5C2A740E-7A02-31A5-EAAF-9CD8C0A41D47}"/>
          </ac:spMkLst>
        </pc:spChg>
        <pc:spChg chg="mod">
          <ac:chgData name="Caldarelli, Leslie" userId="S::lcaldarelli_luriechildrens.org#ext#@nuwildcat.onmicrosoft.com::cd79b54d-c14e-4199-a04a-39c6f592e710" providerId="AD" clId="Web-{BC047B72-8F18-01C2-FA60-A38A99380270}" dt="2023-10-31T04:11:12.594" v="650" actId="14100"/>
          <ac:spMkLst>
            <pc:docMk/>
            <pc:sldMk cId="3845418986" sldId="563"/>
            <ac:spMk id="49" creationId="{4FD6BDF7-E6F5-6DC8-9332-E3E0DB7057F0}"/>
          </ac:spMkLst>
        </pc:spChg>
        <pc:spChg chg="mod">
          <ac:chgData name="Caldarelli, Leslie" userId="S::lcaldarelli_luriechildrens.org#ext#@nuwildcat.onmicrosoft.com::cd79b54d-c14e-4199-a04a-39c6f592e710" providerId="AD" clId="Web-{BC047B72-8F18-01C2-FA60-A38A99380270}" dt="2023-10-31T04:12:13.190" v="657" actId="14100"/>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BC047B72-8F18-01C2-FA60-A38A99380270}" dt="2023-10-31T04:10:55.515" v="648" actId="1076"/>
        <pc:sldMkLst>
          <pc:docMk/>
          <pc:sldMk cId="1536434647" sldId="564"/>
        </pc:sldMkLst>
        <pc:spChg chg="mod">
          <ac:chgData name="Caldarelli, Leslie" userId="S::lcaldarelli_luriechildrens.org#ext#@nuwildcat.onmicrosoft.com::cd79b54d-c14e-4199-a04a-39c6f592e710" providerId="AD" clId="Web-{BC047B72-8F18-01C2-FA60-A38A99380270}" dt="2023-10-31T04:10:29.577" v="645" actId="14100"/>
          <ac:spMkLst>
            <pc:docMk/>
            <pc:sldMk cId="1536434647" sldId="564"/>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10:55.515" v="648" actId="1076"/>
          <ac:spMkLst>
            <pc:docMk/>
            <pc:sldMk cId="1536434647" sldId="564"/>
            <ac:spMk id="41" creationId="{00000000-0000-0000-0000-000000000000}"/>
          </ac:spMkLst>
        </pc:spChg>
        <pc:spChg chg="mod">
          <ac:chgData name="Caldarelli, Leslie" userId="S::lcaldarelli_luriechildrens.org#ext#@nuwildcat.onmicrosoft.com::cd79b54d-c14e-4199-a04a-39c6f592e710" providerId="AD" clId="Web-{BC047B72-8F18-01C2-FA60-A38A99380270}" dt="2023-10-31T04:10:21.014" v="644" actId="14100"/>
          <ac:spMkLst>
            <pc:docMk/>
            <pc:sldMk cId="1536434647" sldId="564"/>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09:55.138" v="640" actId="1076"/>
          <ac:spMkLst>
            <pc:docMk/>
            <pc:sldMk cId="1536434647" sldId="564"/>
            <ac:spMk id="51" creationId="{DADB789B-D1D8-A439-C1FC-0121F131E706}"/>
          </ac:spMkLst>
        </pc:spChg>
        <pc:spChg chg="mod">
          <ac:chgData name="Caldarelli, Leslie" userId="S::lcaldarelli_luriechildrens.org#ext#@nuwildcat.onmicrosoft.com::cd79b54d-c14e-4199-a04a-39c6f592e710" providerId="AD" clId="Web-{BC047B72-8F18-01C2-FA60-A38A99380270}" dt="2023-10-31T04:10:03.935" v="641" actId="1076"/>
          <ac:spMkLst>
            <pc:docMk/>
            <pc:sldMk cId="1536434647" sldId="564"/>
            <ac:spMk id="53" creationId="{7AA1F7FA-AA52-FED3-1784-BE66C8A7FBFC}"/>
          </ac:spMkLst>
        </pc:spChg>
      </pc:sldChg>
      <pc:sldChg chg="modSp">
        <pc:chgData name="Caldarelli, Leslie" userId="S::lcaldarelli_luriechildrens.org#ext#@nuwildcat.onmicrosoft.com::cd79b54d-c14e-4199-a04a-39c6f592e710" providerId="AD" clId="Web-{BC047B72-8F18-01C2-FA60-A38A99380270}" dt="2023-10-31T04:04:35.001" v="597" actId="20577"/>
        <pc:sldMkLst>
          <pc:docMk/>
          <pc:sldMk cId="3004937174" sldId="565"/>
        </pc:sldMkLst>
        <pc:spChg chg="mod">
          <ac:chgData name="Caldarelli, Leslie" userId="S::lcaldarelli_luriechildrens.org#ext#@nuwildcat.onmicrosoft.com::cd79b54d-c14e-4199-a04a-39c6f592e710" providerId="AD" clId="Web-{BC047B72-8F18-01C2-FA60-A38A99380270}" dt="2023-10-31T04:04:34.626" v="591" actId="14100"/>
          <ac:spMkLst>
            <pc:docMk/>
            <pc:sldMk cId="3004937174" sldId="565"/>
            <ac:spMk id="23" creationId="{00000000-0000-0000-0000-000000000000}"/>
          </ac:spMkLst>
        </pc:spChg>
        <pc:spChg chg="mod">
          <ac:chgData name="Caldarelli, Leslie" userId="S::lcaldarelli_luriechildrens.org#ext#@nuwildcat.onmicrosoft.com::cd79b54d-c14e-4199-a04a-39c6f592e710" providerId="AD" clId="Web-{BC047B72-8F18-01C2-FA60-A38A99380270}" dt="2023-10-31T04:04:35.001" v="597" actId="20577"/>
          <ac:spMkLst>
            <pc:docMk/>
            <pc:sldMk cId="3004937174" sldId="565"/>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4:34.720" v="593" actId="14100"/>
          <ac:spMkLst>
            <pc:docMk/>
            <pc:sldMk cId="3004937174" sldId="565"/>
            <ac:spMk id="4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09:02.605" v="635" actId="20577"/>
        <pc:sldMkLst>
          <pc:docMk/>
          <pc:sldMk cId="3419957415" sldId="577"/>
        </pc:sldMkLst>
        <pc:spChg chg="mod">
          <ac:chgData name="Caldarelli, Leslie" userId="S::lcaldarelli_luriechildrens.org#ext#@nuwildcat.onmicrosoft.com::cd79b54d-c14e-4199-a04a-39c6f592e710" providerId="AD" clId="Web-{BC047B72-8F18-01C2-FA60-A38A99380270}" dt="2023-10-31T04:09:02.605" v="635" actId="20577"/>
          <ac:spMkLst>
            <pc:docMk/>
            <pc:sldMk cId="3419957415" sldId="577"/>
            <ac:spMk id="53" creationId="{00000000-0000-0000-0000-000000000000}"/>
          </ac:spMkLst>
        </pc:spChg>
        <pc:spChg chg="mod">
          <ac:chgData name="Caldarelli, Leslie" userId="S::lcaldarelli_luriechildrens.org#ext#@nuwildcat.onmicrosoft.com::cd79b54d-c14e-4199-a04a-39c6f592e710" providerId="AD" clId="Web-{BC047B72-8F18-01C2-FA60-A38A99380270}" dt="2023-10-31T04:08:36.385" v="631" actId="14100"/>
          <ac:spMkLst>
            <pc:docMk/>
            <pc:sldMk cId="3419957415" sldId="577"/>
            <ac:spMk id="57"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4:26:17.362" v="809"/>
        <pc:sldMkLst>
          <pc:docMk/>
          <pc:sldMk cId="3030449316" sldId="579"/>
        </pc:sldMkLst>
        <pc:spChg chg="mod">
          <ac:chgData name="Caldarelli, Leslie" userId="S::lcaldarelli_luriechildrens.org#ext#@nuwildcat.onmicrosoft.com::cd79b54d-c14e-4199-a04a-39c6f592e710" providerId="AD" clId="Web-{BC047B72-8F18-01C2-FA60-A38A99380270}" dt="2023-10-31T04:18:28.688" v="756" actId="20577"/>
          <ac:spMkLst>
            <pc:docMk/>
            <pc:sldMk cId="3030449316" sldId="579"/>
            <ac:spMk id="44" creationId="{00000000-0000-0000-0000-000000000000}"/>
          </ac:spMkLst>
        </pc:spChg>
        <pc:spChg chg="mod">
          <ac:chgData name="Caldarelli, Leslie" userId="S::lcaldarelli_luriechildrens.org#ext#@nuwildcat.onmicrosoft.com::cd79b54d-c14e-4199-a04a-39c6f592e710" providerId="AD" clId="Web-{BC047B72-8F18-01C2-FA60-A38A99380270}" dt="2023-10-31T04:25:07.797" v="802" actId="1076"/>
          <ac:spMkLst>
            <pc:docMk/>
            <pc:sldMk cId="3030449316" sldId="579"/>
            <ac:spMk id="4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4:17.163" v="707" actId="1076"/>
        <pc:sldMkLst>
          <pc:docMk/>
          <pc:sldMk cId="3429940818" sldId="581"/>
        </pc:sldMkLst>
        <pc:spChg chg="mod">
          <ac:chgData name="Caldarelli, Leslie" userId="S::lcaldarelli_luriechildrens.org#ext#@nuwildcat.onmicrosoft.com::cd79b54d-c14e-4199-a04a-39c6f592e710" providerId="AD" clId="Web-{BC047B72-8F18-01C2-FA60-A38A99380270}" dt="2023-10-31T04:12:48.425" v="663" actId="20577"/>
          <ac:spMkLst>
            <pc:docMk/>
            <pc:sldMk cId="3429940818" sldId="581"/>
            <ac:spMk id="62" creationId="{00000000-0000-0000-0000-000000000000}"/>
          </ac:spMkLst>
        </pc:spChg>
        <pc:grpChg chg="mod">
          <ac:chgData name="Caldarelli, Leslie" userId="S::lcaldarelli_luriechildrens.org#ext#@nuwildcat.onmicrosoft.com::cd79b54d-c14e-4199-a04a-39c6f592e710" providerId="AD" clId="Web-{BC047B72-8F18-01C2-FA60-A38A99380270}" dt="2023-10-31T04:14:17.163" v="707" actId="1076"/>
          <ac:grpSpMkLst>
            <pc:docMk/>
            <pc:sldMk cId="3429940818" sldId="581"/>
            <ac:grpSpMk id="6" creationId="{00000000-0000-0000-0000-000000000000}"/>
          </ac:grpSpMkLst>
        </pc:grpChg>
      </pc:sldChg>
      <pc:sldChg chg="modSp modNotes">
        <pc:chgData name="Caldarelli, Leslie" userId="S::lcaldarelli_luriechildrens.org#ext#@nuwildcat.onmicrosoft.com::cd79b54d-c14e-4199-a04a-39c6f592e710" providerId="AD" clId="Web-{BC047B72-8F18-01C2-FA60-A38A99380270}" dt="2023-10-31T04:05:26.956" v="608" actId="20577"/>
        <pc:sldMkLst>
          <pc:docMk/>
          <pc:sldMk cId="3870927286" sldId="583"/>
        </pc:sldMkLst>
        <pc:spChg chg="mod">
          <ac:chgData name="Caldarelli, Leslie" userId="S::lcaldarelli_luriechildrens.org#ext#@nuwildcat.onmicrosoft.com::cd79b54d-c14e-4199-a04a-39c6f592e710" providerId="AD" clId="Web-{BC047B72-8F18-01C2-FA60-A38A99380270}" dt="2023-10-31T03:37:37.894" v="300" actId="1076"/>
          <ac:spMkLst>
            <pc:docMk/>
            <pc:sldMk cId="3870927286" sldId="583"/>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0:41.148" v="521" actId="20577"/>
          <ac:spMkLst>
            <pc:docMk/>
            <pc:sldMk cId="3870927286" sldId="583"/>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3:58:48.738" v="510" actId="20577"/>
          <ac:spMkLst>
            <pc:docMk/>
            <pc:sldMk cId="3870927286" sldId="583"/>
            <ac:spMk id="27" creationId="{00000000-0000-0000-0000-000000000000}"/>
          </ac:spMkLst>
        </pc:spChg>
        <pc:spChg chg="mod">
          <ac:chgData name="Caldarelli, Leslie" userId="S::lcaldarelli_luriechildrens.org#ext#@nuwildcat.onmicrosoft.com::cd79b54d-c14e-4199-a04a-39c6f592e710" providerId="AD" clId="Web-{BC047B72-8F18-01C2-FA60-A38A99380270}" dt="2023-10-31T04:05:26.956" v="608" actId="20577"/>
          <ac:spMkLst>
            <pc:docMk/>
            <pc:sldMk cId="3870927286" sldId="583"/>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3:57:29.251" v="503" actId="20577"/>
          <ac:spMkLst>
            <pc:docMk/>
            <pc:sldMk cId="3870927286" sldId="583"/>
            <ac:spMk id="39" creationId="{00000000-0000-0000-0000-000000000000}"/>
          </ac:spMkLst>
        </pc:spChg>
        <pc:spChg chg="mod">
          <ac:chgData name="Caldarelli, Leslie" userId="S::lcaldarelli_luriechildrens.org#ext#@nuwildcat.onmicrosoft.com::cd79b54d-c14e-4199-a04a-39c6f592e710" providerId="AD" clId="Web-{BC047B72-8F18-01C2-FA60-A38A99380270}" dt="2023-10-31T04:01:58.292" v="534" actId="1076"/>
          <ac:spMkLst>
            <pc:docMk/>
            <pc:sldMk cId="3870927286" sldId="583"/>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3:37:29.300" v="299" actId="1076"/>
          <ac:spMkLst>
            <pc:docMk/>
            <pc:sldMk cId="3870927286" sldId="583"/>
            <ac:spMk id="51"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53:25.023" v="469" actId="20577"/>
        <pc:sldMkLst>
          <pc:docMk/>
          <pc:sldMk cId="3573947264" sldId="584"/>
        </pc:sldMkLst>
        <pc:spChg chg="mod">
          <ac:chgData name="Caldarelli, Leslie" userId="S::lcaldarelli_luriechildrens.org#ext#@nuwildcat.onmicrosoft.com::cd79b54d-c14e-4199-a04a-39c6f592e710" providerId="AD" clId="Web-{BC047B72-8F18-01C2-FA60-A38A99380270}" dt="2023-10-31T03:53:25.023" v="469" actId="20577"/>
          <ac:spMkLst>
            <pc:docMk/>
            <pc:sldMk cId="3573947264" sldId="584"/>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30:28.418" v="851"/>
        <pc:sldMkLst>
          <pc:docMk/>
          <pc:sldMk cId="3561966490" sldId="585"/>
        </pc:sldMkLst>
        <pc:spChg chg="mod">
          <ac:chgData name="Caldarelli, Leslie" userId="S::lcaldarelli_luriechildrens.org#ext#@nuwildcat.onmicrosoft.com::cd79b54d-c14e-4199-a04a-39c6f592e710" providerId="AD" clId="Web-{BC047B72-8F18-01C2-FA60-A38A99380270}" dt="2023-10-31T04:26:26.065" v="810" actId="1076"/>
          <ac:spMkLst>
            <pc:docMk/>
            <pc:sldMk cId="3561966490" sldId="585"/>
            <ac:spMk id="4" creationId="{00000000-0000-0000-0000-000000000000}"/>
          </ac:spMkLst>
        </pc:spChg>
        <pc:spChg chg="mod">
          <ac:chgData name="Caldarelli, Leslie" userId="S::lcaldarelli_luriechildrens.org#ext#@nuwildcat.onmicrosoft.com::cd79b54d-c14e-4199-a04a-39c6f592e710" providerId="AD" clId="Web-{BC047B72-8F18-01C2-FA60-A38A99380270}" dt="2023-10-31T04:27:26.224" v="816" actId="20577"/>
          <ac:spMkLst>
            <pc:docMk/>
            <pc:sldMk cId="3561966490" sldId="585"/>
            <ac:spMk id="7" creationId="{00000000-0000-0000-0000-000000000000}"/>
          </ac:spMkLst>
        </pc:spChg>
        <pc:spChg chg="mod">
          <ac:chgData name="Caldarelli, Leslie" userId="S::lcaldarelli_luriechildrens.org#ext#@nuwildcat.onmicrosoft.com::cd79b54d-c14e-4199-a04a-39c6f592e710" providerId="AD" clId="Web-{BC047B72-8F18-01C2-FA60-A38A99380270}" dt="2023-10-31T04:27:08.926" v="815" actId="20577"/>
          <ac:spMkLst>
            <pc:docMk/>
            <pc:sldMk cId="3561966490" sldId="585"/>
            <ac:spMk id="18" creationId="{00000000-0000-0000-0000-000000000000}"/>
          </ac:spMkLst>
        </pc:spChg>
        <pc:spChg chg="mod">
          <ac:chgData name="Caldarelli, Leslie" userId="S::lcaldarelli_luriechildrens.org#ext#@nuwildcat.onmicrosoft.com::cd79b54d-c14e-4199-a04a-39c6f592e710" providerId="AD" clId="Web-{BC047B72-8F18-01C2-FA60-A38A99380270}" dt="2023-10-31T04:27:00.410" v="814" actId="20577"/>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27:43.334" v="817"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BC047B72-8F18-01C2-FA60-A38A99380270}" dt="2023-10-31T04:28:00.350" v="819" actId="20577"/>
          <ac:spMkLst>
            <pc:docMk/>
            <pc:sldMk cId="3561966490" sldId="585"/>
            <ac:spMk id="2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26:00.127" v="807" actId="20577"/>
        <pc:sldMkLst>
          <pc:docMk/>
          <pc:sldMk cId="3809547791" sldId="586"/>
        </pc:sldMkLst>
        <pc:spChg chg="mod">
          <ac:chgData name="Caldarelli, Leslie" userId="S::lcaldarelli_luriechildrens.org#ext#@nuwildcat.onmicrosoft.com::cd79b54d-c14e-4199-a04a-39c6f592e710" providerId="AD" clId="Web-{BC047B72-8F18-01C2-FA60-A38A99380270}" dt="2023-10-31T04:25:16.719" v="803" actId="20577"/>
          <ac:spMkLst>
            <pc:docMk/>
            <pc:sldMk cId="3809547791" sldId="586"/>
            <ac:spMk id="36" creationId="{00000000-0000-0000-0000-000000000000}"/>
          </ac:spMkLst>
        </pc:spChg>
        <pc:spChg chg="mod">
          <ac:chgData name="Caldarelli, Leslie" userId="S::lcaldarelli_luriechildrens.org#ext#@nuwildcat.onmicrosoft.com::cd79b54d-c14e-4199-a04a-39c6f592e710" providerId="AD" clId="Web-{BC047B72-8F18-01C2-FA60-A38A99380270}" dt="2023-10-31T04:25:51.517" v="806" actId="14100"/>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BC047B72-8F18-01C2-FA60-A38A99380270}" dt="2023-10-31T04:26:00.127" v="807" actId="20577"/>
          <ac:spMkLst>
            <pc:docMk/>
            <pc:sldMk cId="3809547791" sldId="586"/>
            <ac:spMk id="47" creationId="{B8E0B5F5-B6A2-711D-2F6F-422E5E01B221}"/>
          </ac:spMkLst>
        </pc:spChg>
      </pc:sldChg>
      <pc:sldChg chg="modSp">
        <pc:chgData name="Caldarelli, Leslie" userId="S::lcaldarelli_luriechildrens.org#ext#@nuwildcat.onmicrosoft.com::cd79b54d-c14e-4199-a04a-39c6f592e710" providerId="AD" clId="Web-{BC047B72-8F18-01C2-FA60-A38A99380270}" dt="2023-10-31T04:18:19.985" v="754" actId="20577"/>
        <pc:sldMkLst>
          <pc:docMk/>
          <pc:sldMk cId="1598854783" sldId="587"/>
        </pc:sldMkLst>
        <pc:spChg chg="mod">
          <ac:chgData name="Caldarelli, Leslie" userId="S::lcaldarelli_luriechildrens.org#ext#@nuwildcat.onmicrosoft.com::cd79b54d-c14e-4199-a04a-39c6f592e710" providerId="AD" clId="Web-{BC047B72-8F18-01C2-FA60-A38A99380270}" dt="2023-10-31T04:18:19.985" v="754" actId="20577"/>
          <ac:spMkLst>
            <pc:docMk/>
            <pc:sldMk cId="1598854783" sldId="587"/>
            <ac:spMk id="42" creationId="{00000000-0000-0000-0000-000000000000}"/>
          </ac:spMkLst>
        </pc:spChg>
        <pc:spChg chg="mod">
          <ac:chgData name="Caldarelli, Leslie" userId="S::lcaldarelli_luriechildrens.org#ext#@nuwildcat.onmicrosoft.com::cd79b54d-c14e-4199-a04a-39c6f592e710" providerId="AD" clId="Web-{BC047B72-8F18-01C2-FA60-A38A99380270}" dt="2023-10-31T04:17:35.936" v="743" actId="20577"/>
          <ac:spMkLst>
            <pc:docMk/>
            <pc:sldMk cId="1598854783" sldId="587"/>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17:36.046" v="744" actId="1076"/>
          <ac:spMkLst>
            <pc:docMk/>
            <pc:sldMk cId="1598854783" sldId="587"/>
            <ac:spMk id="49" creationId="{E2210AC7-88E9-3DF2-B6FD-284390179A81}"/>
          </ac:spMkLst>
        </pc:spChg>
        <pc:spChg chg="mod">
          <ac:chgData name="Caldarelli, Leslie" userId="S::lcaldarelli_luriechildrens.org#ext#@nuwildcat.onmicrosoft.com::cd79b54d-c14e-4199-a04a-39c6f592e710" providerId="AD" clId="Web-{BC047B72-8F18-01C2-FA60-A38A99380270}" dt="2023-10-31T04:17:54.124" v="752" actId="14100"/>
          <ac:spMkLst>
            <pc:docMk/>
            <pc:sldMk cId="1598854783" sldId="587"/>
            <ac:spMk id="51" creationId="{24A2DEC9-4CC0-CBF0-5D9A-524D9EFAEE1C}"/>
          </ac:spMkLst>
        </pc:spChg>
        <pc:spChg chg="mod">
          <ac:chgData name="Caldarelli, Leslie" userId="S::lcaldarelli_luriechildrens.org#ext#@nuwildcat.onmicrosoft.com::cd79b54d-c14e-4199-a04a-39c6f592e710" providerId="AD" clId="Web-{BC047B72-8F18-01C2-FA60-A38A99380270}" dt="2023-10-31T04:17:36.452" v="749" actId="1076"/>
          <ac:spMkLst>
            <pc:docMk/>
            <pc:sldMk cId="1598854783" sldId="587"/>
            <ac:spMk id="53" creationId="{0E0706BB-4123-83DA-E93A-66A50F4484A3}"/>
          </ac:spMkLst>
        </pc:spChg>
      </pc:sldChg>
      <pc:sldChg chg="modSp">
        <pc:chgData name="Caldarelli, Leslie" userId="S::lcaldarelli_luriechildrens.org#ext#@nuwildcat.onmicrosoft.com::cd79b54d-c14e-4199-a04a-39c6f592e710" providerId="AD" clId="Web-{BC047B72-8F18-01C2-FA60-A38A99380270}" dt="2023-10-31T04:17:35.796" v="740" actId="1076"/>
        <pc:sldMkLst>
          <pc:docMk/>
          <pc:sldMk cId="3832963388" sldId="588"/>
        </pc:sldMkLst>
        <pc:spChg chg="mod">
          <ac:chgData name="Caldarelli, Leslie" userId="S::lcaldarelli_luriechildrens.org#ext#@nuwildcat.onmicrosoft.com::cd79b54d-c14e-4199-a04a-39c6f592e710" providerId="AD" clId="Web-{BC047B72-8F18-01C2-FA60-A38A99380270}" dt="2023-10-31T04:17:35.608" v="738" actId="1076"/>
          <ac:spMkLst>
            <pc:docMk/>
            <pc:sldMk cId="3832963388" sldId="588"/>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6:51.591" v="729" actId="20577"/>
          <ac:spMkLst>
            <pc:docMk/>
            <pc:sldMk cId="3832963388" sldId="588"/>
            <ac:spMk id="34" creationId="{00000000-0000-0000-0000-000000000000}"/>
          </ac:spMkLst>
        </pc:spChg>
        <pc:spChg chg="mod">
          <ac:chgData name="Caldarelli, Leslie" userId="S::lcaldarelli_luriechildrens.org#ext#@nuwildcat.onmicrosoft.com::cd79b54d-c14e-4199-a04a-39c6f592e710" providerId="AD" clId="Web-{BC047B72-8F18-01C2-FA60-A38A99380270}" dt="2023-10-31T04:17:35.702" v="739" actId="1076"/>
          <ac:spMkLst>
            <pc:docMk/>
            <pc:sldMk cId="3832963388" sldId="588"/>
            <ac:spMk id="36" creationId="{3EFC5C80-E693-6C51-4DEF-583812BEAB54}"/>
          </ac:spMkLst>
        </pc:spChg>
        <pc:spChg chg="mod">
          <ac:chgData name="Caldarelli, Leslie" userId="S::lcaldarelli_luriechildrens.org#ext#@nuwildcat.onmicrosoft.com::cd79b54d-c14e-4199-a04a-39c6f592e710" providerId="AD" clId="Web-{BC047B72-8F18-01C2-FA60-A38A99380270}" dt="2023-10-31T04:17:35.796" v="740" actId="1076"/>
          <ac:spMkLst>
            <pc:docMk/>
            <pc:sldMk cId="3832963388" sldId="588"/>
            <ac:spMk id="38" creationId="{9B32A794-89CE-3CF7-CCFB-FB03BB567C6D}"/>
          </ac:spMkLst>
        </pc:spChg>
      </pc:sldChg>
      <pc:sldChg chg="modSp">
        <pc:chgData name="Caldarelli, Leslie" userId="S::lcaldarelli_luriechildrens.org#ext#@nuwildcat.onmicrosoft.com::cd79b54d-c14e-4199-a04a-39c6f592e710" providerId="AD" clId="Web-{BC047B72-8F18-01C2-FA60-A38A99380270}" dt="2023-10-31T04:17:08.841" v="731" actId="20577"/>
        <pc:sldMkLst>
          <pc:docMk/>
          <pc:sldMk cId="435998680" sldId="589"/>
        </pc:sldMkLst>
        <pc:spChg chg="mod">
          <ac:chgData name="Caldarelli, Leslie" userId="S::lcaldarelli_luriechildrens.org#ext#@nuwildcat.onmicrosoft.com::cd79b54d-c14e-4199-a04a-39c6f592e710" providerId="AD" clId="Web-{BC047B72-8F18-01C2-FA60-A38A99380270}" dt="2023-10-31T04:16:08.417" v="721" actId="20577"/>
          <ac:spMkLst>
            <pc:docMk/>
            <pc:sldMk cId="435998680" sldId="589"/>
            <ac:spMk id="11" creationId="{00000000-0000-0000-0000-000000000000}"/>
          </ac:spMkLst>
        </pc:spChg>
        <pc:spChg chg="mod">
          <ac:chgData name="Caldarelli, Leslie" userId="S::lcaldarelli_luriechildrens.org#ext#@nuwildcat.onmicrosoft.com::cd79b54d-c14e-4199-a04a-39c6f592e710" providerId="AD" clId="Web-{BC047B72-8F18-01C2-FA60-A38A99380270}" dt="2023-10-31T04:16:25.668" v="724"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17:08.841" v="731" actId="20577"/>
          <ac:spMkLst>
            <pc:docMk/>
            <pc:sldMk cId="435998680" sldId="589"/>
            <ac:spMk id="17" creationId="{00000000-0000-0000-0000-000000000000}"/>
          </ac:spMkLst>
        </pc:spChg>
        <pc:spChg chg="mod">
          <ac:chgData name="Caldarelli, Leslie" userId="S::lcaldarelli_luriechildrens.org#ext#@nuwildcat.onmicrosoft.com::cd79b54d-c14e-4199-a04a-39c6f592e710" providerId="AD" clId="Web-{BC047B72-8F18-01C2-FA60-A38A99380270}" dt="2023-10-31T04:15:34.338" v="717" actId="1076"/>
          <ac:spMkLst>
            <pc:docMk/>
            <pc:sldMk cId="435998680" sldId="589"/>
            <ac:spMk id="19" creationId="{4F38B046-5CD5-F005-45E3-2034830DFD34}"/>
          </ac:spMkLst>
        </pc:spChg>
        <pc:spChg chg="mod">
          <ac:chgData name="Caldarelli, Leslie" userId="S::lcaldarelli_luriechildrens.org#ext#@nuwildcat.onmicrosoft.com::cd79b54d-c14e-4199-a04a-39c6f592e710" providerId="AD" clId="Web-{BC047B72-8F18-01C2-FA60-A38A99380270}" dt="2023-10-31T04:15:59.870" v="720" actId="20577"/>
          <ac:spMkLst>
            <pc:docMk/>
            <pc:sldMk cId="435998680" sldId="589"/>
            <ac:spMk id="21" creationId="{A35E0C3C-CC22-A1A0-8E94-9EEE65798BD1}"/>
          </ac:spMkLst>
        </pc:spChg>
      </pc:sldChg>
      <pc:sldChg chg="modSp">
        <pc:chgData name="Caldarelli, Leslie" userId="S::lcaldarelli_luriechildrens.org#ext#@nuwildcat.onmicrosoft.com::cd79b54d-c14e-4199-a04a-39c6f592e710" providerId="AD" clId="Web-{BC047B72-8F18-01C2-FA60-A38A99380270}" dt="2023-10-31T04:17:26.123" v="735" actId="20577"/>
        <pc:sldMkLst>
          <pc:docMk/>
          <pc:sldMk cId="595546358" sldId="590"/>
        </pc:sldMkLst>
        <pc:spChg chg="mod">
          <ac:chgData name="Caldarelli, Leslie" userId="S::lcaldarelli_luriechildrens.org#ext#@nuwildcat.onmicrosoft.com::cd79b54d-c14e-4199-a04a-39c6f592e710" providerId="AD" clId="Web-{BC047B72-8F18-01C2-FA60-A38A99380270}" dt="2023-10-31T04:14:42.773" v="711" actId="20577"/>
          <ac:spMkLst>
            <pc:docMk/>
            <pc:sldMk cId="595546358" sldId="590"/>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5:25.791" v="716" actId="20577"/>
          <ac:spMkLst>
            <pc:docMk/>
            <pc:sldMk cId="595546358" sldId="590"/>
            <ac:spMk id="25" creationId="{00000000-0000-0000-0000-000000000000}"/>
          </ac:spMkLst>
        </pc:spChg>
        <pc:spChg chg="mod">
          <ac:chgData name="Caldarelli, Leslie" userId="S::lcaldarelli_luriechildrens.org#ext#@nuwildcat.onmicrosoft.com::cd79b54d-c14e-4199-a04a-39c6f592e710" providerId="AD" clId="Web-{BC047B72-8F18-01C2-FA60-A38A99380270}" dt="2023-10-31T04:17:26.123" v="735" actId="20577"/>
          <ac:spMkLst>
            <pc:docMk/>
            <pc:sldMk cId="595546358" sldId="590"/>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14:59.884" v="713" actId="1076"/>
          <ac:spMkLst>
            <pc:docMk/>
            <pc:sldMk cId="595546358" sldId="590"/>
            <ac:spMk id="30" creationId="{53721EF8-C35D-834E-9339-D65FFE7AFF9A}"/>
          </ac:spMkLst>
        </pc:spChg>
        <pc:spChg chg="mod">
          <ac:chgData name="Caldarelli, Leslie" userId="S::lcaldarelli_luriechildrens.org#ext#@nuwildcat.onmicrosoft.com::cd79b54d-c14e-4199-a04a-39c6f592e710" providerId="AD" clId="Web-{BC047B72-8F18-01C2-FA60-A38A99380270}" dt="2023-10-31T04:15:17.275" v="715" actId="1076"/>
          <ac:spMkLst>
            <pc:docMk/>
            <pc:sldMk cId="595546358" sldId="590"/>
            <ac:spMk id="32" creationId="{F1AED984-C21E-AA63-E34E-DA61BCE8401F}"/>
          </ac:spMkLst>
        </pc:spChg>
      </pc:sldChg>
      <pc:sldChg chg="modSp modNotes">
        <pc:chgData name="Caldarelli, Leslie" userId="S::lcaldarelli_luriechildrens.org#ext#@nuwildcat.onmicrosoft.com::cd79b54d-c14e-4199-a04a-39c6f592e710" providerId="AD" clId="Web-{BC047B72-8F18-01C2-FA60-A38A99380270}" dt="2023-10-31T04:14:34.242" v="710" actId="20577"/>
        <pc:sldMkLst>
          <pc:docMk/>
          <pc:sldMk cId="629433230" sldId="591"/>
        </pc:sldMkLst>
        <pc:spChg chg="mod">
          <ac:chgData name="Caldarelli, Leslie" userId="S::lcaldarelli_luriechildrens.org#ext#@nuwildcat.onmicrosoft.com::cd79b54d-c14e-4199-a04a-39c6f592e710" providerId="AD" clId="Web-{BC047B72-8F18-01C2-FA60-A38A99380270}" dt="2023-10-31T04:13:05.614" v="665" actId="14100"/>
          <ac:spMkLst>
            <pc:docMk/>
            <pc:sldMk cId="629433230" sldId="591"/>
            <ac:spMk id="15" creationId="{00000000-0000-0000-0000-000000000000}"/>
          </ac:spMkLst>
        </pc:spChg>
        <pc:spChg chg="mod">
          <ac:chgData name="Caldarelli, Leslie" userId="S::lcaldarelli_luriechildrens.org#ext#@nuwildcat.onmicrosoft.com::cd79b54d-c14e-4199-a04a-39c6f592e710" providerId="AD" clId="Web-{BC047B72-8F18-01C2-FA60-A38A99380270}" dt="2023-10-31T04:13:14.911" v="672" actId="1076"/>
          <ac:spMkLst>
            <pc:docMk/>
            <pc:sldMk cId="629433230" sldId="591"/>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14:34.242" v="710" actId="20577"/>
          <ac:spMkLst>
            <pc:docMk/>
            <pc:sldMk cId="629433230" sldId="591"/>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3:14.411" v="666" actId="1076"/>
          <ac:spMkLst>
            <pc:docMk/>
            <pc:sldMk cId="629433230" sldId="591"/>
            <ac:spMk id="24" creationId="{82DED22A-2957-2107-97D2-7694FF88F0A5}"/>
          </ac:spMkLst>
        </pc:spChg>
        <pc:spChg chg="mod">
          <ac:chgData name="Caldarelli, Leslie" userId="S::lcaldarelli_luriechildrens.org#ext#@nuwildcat.onmicrosoft.com::cd79b54d-c14e-4199-a04a-39c6f592e710" providerId="AD" clId="Web-{BC047B72-8F18-01C2-FA60-A38A99380270}" dt="2023-10-31T04:13:14.848" v="671" actId="1076"/>
          <ac:spMkLst>
            <pc:docMk/>
            <pc:sldMk cId="629433230" sldId="591"/>
            <ac:spMk id="26" creationId="{7ADA2A22-B85F-E8A9-52B3-7FA1A111EB25}"/>
          </ac:spMkLst>
        </pc:spChg>
      </pc:sldChg>
      <pc:sldChg chg="modSp">
        <pc:chgData name="Caldarelli, Leslie" userId="S::lcaldarelli_luriechildrens.org#ext#@nuwildcat.onmicrosoft.com::cd79b54d-c14e-4199-a04a-39c6f592e710" providerId="AD" clId="Web-{BC047B72-8F18-01C2-FA60-A38A99380270}" dt="2023-10-31T02:11:46.662" v="41" actId="20577"/>
        <pc:sldMkLst>
          <pc:docMk/>
          <pc:sldMk cId="3726638559" sldId="616"/>
        </pc:sldMkLst>
        <pc:spChg chg="mod">
          <ac:chgData name="Caldarelli, Leslie" userId="S::lcaldarelli_luriechildrens.org#ext#@nuwildcat.onmicrosoft.com::cd79b54d-c14e-4199-a04a-39c6f592e710" providerId="AD" clId="Web-{BC047B72-8F18-01C2-FA60-A38A99380270}" dt="2023-10-31T02:11:46.662" v="41" actId="20577"/>
          <ac:spMkLst>
            <pc:docMk/>
            <pc:sldMk cId="3726638559" sldId="616"/>
            <ac:spMk id="2175"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0.690" v="659" actId="20577"/>
        <pc:sldMkLst>
          <pc:docMk/>
          <pc:sldMk cId="1210022179" sldId="617"/>
        </pc:sldMkLst>
        <pc:spChg chg="mod">
          <ac:chgData name="Caldarelli, Leslie" userId="S::lcaldarelli_luriechildrens.org#ext#@nuwildcat.onmicrosoft.com::cd79b54d-c14e-4199-a04a-39c6f592e710" providerId="AD" clId="Web-{BC047B72-8F18-01C2-FA60-A38A99380270}" dt="2023-10-31T04:12:30.690" v="659" actId="20577"/>
          <ac:spMkLst>
            <pc:docMk/>
            <pc:sldMk cId="1210022179" sldId="617"/>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07:53.118" v="628"/>
        <pc:sldMkLst>
          <pc:docMk/>
          <pc:sldMk cId="3850125703" sldId="622"/>
        </pc:sldMkLst>
        <pc:spChg chg="mod">
          <ac:chgData name="Caldarelli, Leslie" userId="S::lcaldarelli_luriechildrens.org#ext#@nuwildcat.onmicrosoft.com::cd79b54d-c14e-4199-a04a-39c6f592e710" providerId="AD" clId="Web-{BC047B72-8F18-01C2-FA60-A38A99380270}" dt="2023-10-31T04:04:52.267" v="604" actId="20577"/>
          <ac:spMkLst>
            <pc:docMk/>
            <pc:sldMk cId="3850125703" sldId="622"/>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5:18.268" v="607" actId="20577"/>
          <ac:spMkLst>
            <pc:docMk/>
            <pc:sldMk cId="3850125703" sldId="622"/>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06:01.551" v="613" actId="14100"/>
          <ac:spMkLst>
            <pc:docMk/>
            <pc:sldMk cId="3850125703" sldId="622"/>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7:01.538" v="621" actId="14100"/>
          <ac:spMkLst>
            <pc:docMk/>
            <pc:sldMk cId="3850125703" sldId="622"/>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07:36.039" v="627" actId="20577"/>
          <ac:spMkLst>
            <pc:docMk/>
            <pc:sldMk cId="3850125703" sldId="622"/>
            <ac:spMk id="49" creationId="{00000000-0000-0000-0000-000000000000}"/>
          </ac:spMkLst>
        </pc:spChg>
        <pc:spChg chg="mod">
          <ac:chgData name="Caldarelli, Leslie" userId="S::lcaldarelli_luriechildrens.org#ext#@nuwildcat.onmicrosoft.com::cd79b54d-c14e-4199-a04a-39c6f592e710" providerId="AD" clId="Web-{BC047B72-8F18-01C2-FA60-A38A99380270}" dt="2023-10-31T04:05:09.783" v="606" actId="20577"/>
          <ac:spMkLst>
            <pc:docMk/>
            <pc:sldMk cId="3850125703" sldId="622"/>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9.378" v="660" actId="20577"/>
        <pc:sldMkLst>
          <pc:docMk/>
          <pc:sldMk cId="2561278274" sldId="630"/>
        </pc:sldMkLst>
        <pc:spChg chg="mod">
          <ac:chgData name="Caldarelli, Leslie" userId="S::lcaldarelli_luriechildrens.org#ext#@nuwildcat.onmicrosoft.com::cd79b54d-c14e-4199-a04a-39c6f592e710" providerId="AD" clId="Web-{BC047B72-8F18-01C2-FA60-A38A99380270}" dt="2023-10-31T04:12:39.378" v="660" actId="20577"/>
          <ac:spMkLst>
            <pc:docMk/>
            <pc:sldMk cId="2561278274" sldId="630"/>
            <ac:spMk id="2" creationId="{A6FAA70D-3B97-AAF4-599A-5BEF539C23CA}"/>
          </ac:spMkLst>
        </pc:spChg>
      </pc:sldChg>
      <pc:sldChg chg="modSp">
        <pc:chgData name="Caldarelli, Leslie" userId="S::lcaldarelli_luriechildrens.org#ext#@nuwildcat.onmicrosoft.com::cd79b54d-c14e-4199-a04a-39c6f592e710" providerId="AD" clId="Web-{BC047B72-8F18-01C2-FA60-A38A99380270}" dt="2023-10-31T02:10:33.222" v="37" actId="1076"/>
        <pc:sldMkLst>
          <pc:docMk/>
          <pc:sldMk cId="1271905251" sldId="637"/>
        </pc:sldMkLst>
        <pc:spChg chg="mod">
          <ac:chgData name="Caldarelli, Leslie" userId="S::lcaldarelli_luriechildrens.org#ext#@nuwildcat.onmicrosoft.com::cd79b54d-c14e-4199-a04a-39c6f592e710" providerId="AD" clId="Web-{BC047B72-8F18-01C2-FA60-A38A99380270}" dt="2023-10-31T02:09:45.315" v="27" actId="20577"/>
          <ac:spMkLst>
            <pc:docMk/>
            <pc:sldMk cId="1271905251" sldId="637"/>
            <ac:spMk id="2" creationId="{AB9D5AD0-4A67-B828-DEC5-1146004A7755}"/>
          </ac:spMkLst>
        </pc:spChg>
        <pc:spChg chg="mod">
          <ac:chgData name="Caldarelli, Leslie" userId="S::lcaldarelli_luriechildrens.org#ext#@nuwildcat.onmicrosoft.com::cd79b54d-c14e-4199-a04a-39c6f592e710" providerId="AD" clId="Web-{BC047B72-8F18-01C2-FA60-A38A99380270}" dt="2023-10-31T02:10:33.222" v="37" actId="1076"/>
          <ac:spMkLst>
            <pc:docMk/>
            <pc:sldMk cId="1271905251" sldId="637"/>
            <ac:spMk id="3" creationId="{38BD8A99-C590-643F-CF50-2EEC68347C9C}"/>
          </ac:spMkLst>
        </pc:spChg>
      </pc:sldChg>
      <pc:sldChg chg="modSp">
        <pc:chgData name="Caldarelli, Leslie" userId="S::lcaldarelli_luriechildrens.org#ext#@nuwildcat.onmicrosoft.com::cd79b54d-c14e-4199-a04a-39c6f592e710" providerId="AD" clId="Web-{BC047B72-8F18-01C2-FA60-A38A99380270}" dt="2023-10-31T02:09:36.752" v="26" actId="14100"/>
        <pc:sldMkLst>
          <pc:docMk/>
          <pc:sldMk cId="2890705621" sldId="638"/>
        </pc:sldMkLst>
        <pc:spChg chg="mod">
          <ac:chgData name="Caldarelli, Leslie" userId="S::lcaldarelli_luriechildrens.org#ext#@nuwildcat.onmicrosoft.com::cd79b54d-c14e-4199-a04a-39c6f592e710" providerId="AD" clId="Web-{BC047B72-8F18-01C2-FA60-A38A99380270}" dt="2023-10-31T02:09:29.017" v="25" actId="14100"/>
          <ac:spMkLst>
            <pc:docMk/>
            <pc:sldMk cId="2890705621" sldId="638"/>
            <ac:spMk id="2" creationId="{C5D6A446-3EAF-1D26-0881-09F641FA1071}"/>
          </ac:spMkLst>
        </pc:spChg>
        <pc:spChg chg="mod">
          <ac:chgData name="Caldarelli, Leslie" userId="S::lcaldarelli_luriechildrens.org#ext#@nuwildcat.onmicrosoft.com::cd79b54d-c14e-4199-a04a-39c6f592e710" providerId="AD" clId="Web-{BC047B72-8F18-01C2-FA60-A38A99380270}" dt="2023-10-31T02:09:36.752" v="26" actId="14100"/>
          <ac:spMkLst>
            <pc:docMk/>
            <pc:sldMk cId="2890705621" sldId="638"/>
            <ac:spMk id="3" creationId="{11D1B208-3BF0-EBC8-BF8D-1C8378DBC20F}"/>
          </ac:spMkLst>
        </pc:spChg>
      </pc:sldChg>
      <pc:sldChg chg="modSp ord modNotes">
        <pc:chgData name="Caldarelli, Leslie" userId="S::lcaldarelli_luriechildrens.org#ext#@nuwildcat.onmicrosoft.com::cd79b54d-c14e-4199-a04a-39c6f592e710" providerId="AD" clId="Web-{BC047B72-8F18-01C2-FA60-A38A99380270}" dt="2023-10-31T04:04:35.079" v="599" actId="20577"/>
        <pc:sldMkLst>
          <pc:docMk/>
          <pc:sldMk cId="113281680" sldId="642"/>
        </pc:sldMkLst>
        <pc:spChg chg="mod">
          <ac:chgData name="Caldarelli, Leslie" userId="S::lcaldarelli_luriechildrens.org#ext#@nuwildcat.onmicrosoft.com::cd79b54d-c14e-4199-a04a-39c6f592e710" providerId="AD" clId="Web-{BC047B72-8F18-01C2-FA60-A38A99380270}" dt="2023-10-31T04:02:23.949" v="538" actId="20577"/>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BC047B72-8F18-01C2-FA60-A38A99380270}" dt="2023-10-31T04:04:35.079" v="599" actId="20577"/>
          <ac:spMkLst>
            <pc:docMk/>
            <pc:sldMk cId="113281680" sldId="642"/>
            <ac:spMk id="3" creationId="{9038DB7D-70BC-F3BC-5E8D-8CFC7F509BED}"/>
          </ac:spMkLst>
        </pc:spChg>
      </pc:sldChg>
      <pc:sldChg chg="modSp">
        <pc:chgData name="Caldarelli, Leslie" userId="S::lcaldarelli_luriechildrens.org#ext#@nuwildcat.onmicrosoft.com::cd79b54d-c14e-4199-a04a-39c6f592e710" providerId="AD" clId="Web-{BC047B72-8F18-01C2-FA60-A38A99380270}" dt="2023-10-31T04:33:13.252" v="935" actId="20577"/>
        <pc:sldMkLst>
          <pc:docMk/>
          <pc:sldMk cId="2443892533" sldId="643"/>
        </pc:sldMkLst>
        <pc:spChg chg="mod">
          <ac:chgData name="Caldarelli, Leslie" userId="S::lcaldarelli_luriechildrens.org#ext#@nuwildcat.onmicrosoft.com::cd79b54d-c14e-4199-a04a-39c6f592e710" providerId="AD" clId="Web-{BC047B72-8F18-01C2-FA60-A38A99380270}" dt="2023-10-31T04:33:03.955" v="913"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BC047B72-8F18-01C2-FA60-A38A99380270}" dt="2023-10-31T04:33:13.252" v="935" actId="20577"/>
          <ac:spMkLst>
            <pc:docMk/>
            <pc:sldMk cId="2443892533" sldId="643"/>
            <ac:spMk id="10" creationId="{F7DE78CF-32A6-61A0-EEC5-F837E089D3A4}"/>
          </ac:spMkLst>
        </pc:spChg>
      </pc:sldChg>
    </pc:docChg>
  </pc:docChgLst>
  <pc:docChgLst>
    <pc:chgData name="Eileen Fleming Suse" userId="S::efs3844@ads.northwestern.edu::725c94ef-d051-42d7-9d33-8572765d592b" providerId="AD" clId="Web-{AFE245F6-AF84-51BF-AB4C-88F7188B99E6}"/>
    <pc:docChg chg="modSld">
      <pc:chgData name="Eileen Fleming Suse" userId="S::efs3844@ads.northwestern.edu::725c94ef-d051-42d7-9d33-8572765d592b" providerId="AD" clId="Web-{AFE245F6-AF84-51BF-AB4C-88F7188B99E6}" dt="2023-10-31T20:15:08.574" v="74" actId="1076"/>
      <pc:docMkLst>
        <pc:docMk/>
      </pc:docMkLst>
      <pc:sldChg chg="modSp">
        <pc:chgData name="Eileen Fleming Suse" userId="S::efs3844@ads.northwestern.edu::725c94ef-d051-42d7-9d33-8572765d592b" providerId="AD" clId="Web-{AFE245F6-AF84-51BF-AB4C-88F7188B99E6}" dt="2023-10-31T20:14:55.604" v="73" actId="1076"/>
        <pc:sldMkLst>
          <pc:docMk/>
          <pc:sldMk cId="1536434647" sldId="564"/>
        </pc:sldMkLst>
        <pc:spChg chg="mod">
          <ac:chgData name="Eileen Fleming Suse" userId="S::efs3844@ads.northwestern.edu::725c94ef-d051-42d7-9d33-8572765d592b" providerId="AD" clId="Web-{AFE245F6-AF84-51BF-AB4C-88F7188B99E6}" dt="2023-10-31T20:14:55.604" v="73" actId="1076"/>
          <ac:spMkLst>
            <pc:docMk/>
            <pc:sldMk cId="1536434647" sldId="564"/>
            <ac:spMk id="51" creationId="{DADB789B-D1D8-A439-C1FC-0121F131E706}"/>
          </ac:spMkLst>
        </pc:spChg>
        <pc:spChg chg="mod">
          <ac:chgData name="Eileen Fleming Suse" userId="S::efs3844@ads.northwestern.edu::725c94ef-d051-42d7-9d33-8572765d592b" providerId="AD" clId="Web-{AFE245F6-AF84-51BF-AB4C-88F7188B99E6}" dt="2023-10-31T20:14:52.745" v="72" actId="1076"/>
          <ac:spMkLst>
            <pc:docMk/>
            <pc:sldMk cId="1536434647" sldId="564"/>
            <ac:spMk id="53" creationId="{7AA1F7FA-AA52-FED3-1784-BE66C8A7FBFC}"/>
          </ac:spMkLst>
        </pc:spChg>
      </pc:sldChg>
      <pc:sldChg chg="addSp modSp">
        <pc:chgData name="Eileen Fleming Suse" userId="S::efs3844@ads.northwestern.edu::725c94ef-d051-42d7-9d33-8572765d592b" providerId="AD" clId="Web-{AFE245F6-AF84-51BF-AB4C-88F7188B99E6}" dt="2023-10-31T20:14:16.650" v="71"/>
        <pc:sldMkLst>
          <pc:docMk/>
          <pc:sldMk cId="3030449316" sldId="579"/>
        </pc:sldMkLst>
        <pc:spChg chg="mod ord">
          <ac:chgData name="Eileen Fleming Suse" userId="S::efs3844@ads.northwestern.edu::725c94ef-d051-42d7-9d33-8572765d592b" providerId="AD" clId="Web-{AFE245F6-AF84-51BF-AB4C-88F7188B99E6}" dt="2023-10-31T20:14:16.650" v="71"/>
          <ac:spMkLst>
            <pc:docMk/>
            <pc:sldMk cId="3030449316" sldId="579"/>
            <ac:spMk id="10" creationId="{00000000-0000-0000-0000-000000000000}"/>
          </ac:spMkLst>
        </pc:spChg>
        <pc:spChg chg="mod">
          <ac:chgData name="Eileen Fleming Suse" userId="S::efs3844@ads.northwestern.edu::725c94ef-d051-42d7-9d33-8572765d592b" providerId="AD" clId="Web-{AFE245F6-AF84-51BF-AB4C-88F7188B99E6}" dt="2023-10-31T20:05:09.091" v="6" actId="1076"/>
          <ac:spMkLst>
            <pc:docMk/>
            <pc:sldMk cId="3030449316" sldId="579"/>
            <ac:spMk id="11" creationId="{00000000-0000-0000-0000-000000000000}"/>
          </ac:spMkLst>
        </pc:spChg>
        <pc:spChg chg="mod">
          <ac:chgData name="Eileen Fleming Suse" userId="S::efs3844@ads.northwestern.edu::725c94ef-d051-42d7-9d33-8572765d592b" providerId="AD" clId="Web-{AFE245F6-AF84-51BF-AB4C-88F7188B99E6}" dt="2023-10-31T20:05:59.358" v="20" actId="1076"/>
          <ac:spMkLst>
            <pc:docMk/>
            <pc:sldMk cId="3030449316" sldId="579"/>
            <ac:spMk id="12" creationId="{00000000-0000-0000-0000-000000000000}"/>
          </ac:spMkLst>
        </pc:spChg>
        <pc:spChg chg="mod">
          <ac:chgData name="Eileen Fleming Suse" userId="S::efs3844@ads.northwestern.edu::725c94ef-d051-42d7-9d33-8572765d592b" providerId="AD" clId="Web-{AFE245F6-AF84-51BF-AB4C-88F7188B99E6}" dt="2023-10-31T20:04:52.716" v="3" actId="1076"/>
          <ac:spMkLst>
            <pc:docMk/>
            <pc:sldMk cId="3030449316" sldId="579"/>
            <ac:spMk id="13" creationId="{00000000-0000-0000-0000-000000000000}"/>
          </ac:spMkLst>
        </pc:spChg>
        <pc:spChg chg="mod">
          <ac:chgData name="Eileen Fleming Suse" userId="S::efs3844@ads.northwestern.edu::725c94ef-d051-42d7-9d33-8572765d592b" providerId="AD" clId="Web-{AFE245F6-AF84-51BF-AB4C-88F7188B99E6}" dt="2023-10-31T20:06:52.046" v="34" actId="1076"/>
          <ac:spMkLst>
            <pc:docMk/>
            <pc:sldMk cId="3030449316" sldId="579"/>
            <ac:spMk id="32" creationId="{00000000-0000-0000-0000-000000000000}"/>
          </ac:spMkLst>
        </pc:spChg>
        <pc:spChg chg="mod">
          <ac:chgData name="Eileen Fleming Suse" userId="S::efs3844@ads.northwestern.edu::725c94ef-d051-42d7-9d33-8572765d592b" providerId="AD" clId="Web-{AFE245F6-AF84-51BF-AB4C-88F7188B99E6}" dt="2023-10-31T20:07:17.860" v="38" actId="1076"/>
          <ac:spMkLst>
            <pc:docMk/>
            <pc:sldMk cId="3030449316" sldId="579"/>
            <ac:spMk id="40" creationId="{00000000-0000-0000-0000-000000000000}"/>
          </ac:spMkLst>
        </pc:spChg>
        <pc:spChg chg="mod ord">
          <ac:chgData name="Eileen Fleming Suse" userId="S::efs3844@ads.northwestern.edu::725c94ef-d051-42d7-9d33-8572765d592b" providerId="AD" clId="Web-{AFE245F6-AF84-51BF-AB4C-88F7188B99E6}" dt="2023-10-31T20:11:55.147" v="65" actId="1076"/>
          <ac:spMkLst>
            <pc:docMk/>
            <pc:sldMk cId="3030449316" sldId="579"/>
            <ac:spMk id="41" creationId="{00000000-0000-0000-0000-000000000000}"/>
          </ac:spMkLst>
        </pc:spChg>
        <pc:spChg chg="mod">
          <ac:chgData name="Eileen Fleming Suse" userId="S::efs3844@ads.northwestern.edu::725c94ef-d051-42d7-9d33-8572765d592b" providerId="AD" clId="Web-{AFE245F6-AF84-51BF-AB4C-88F7188B99E6}" dt="2023-10-31T20:06:00.717" v="21" actId="1076"/>
          <ac:spMkLst>
            <pc:docMk/>
            <pc:sldMk cId="3030449316" sldId="579"/>
            <ac:spMk id="42" creationId="{00000000-0000-0000-0000-000000000000}"/>
          </ac:spMkLst>
        </pc:spChg>
        <pc:spChg chg="mod">
          <ac:chgData name="Eileen Fleming Suse" userId="S::efs3844@ads.northwestern.edu::725c94ef-d051-42d7-9d33-8572765d592b" providerId="AD" clId="Web-{AFE245F6-AF84-51BF-AB4C-88F7188B99E6}" dt="2023-10-31T20:06:22.327" v="27" actId="1076"/>
          <ac:spMkLst>
            <pc:docMk/>
            <pc:sldMk cId="3030449316" sldId="579"/>
            <ac:spMk id="43" creationId="{00000000-0000-0000-0000-000000000000}"/>
          </ac:spMkLst>
        </pc:spChg>
        <pc:spChg chg="mod">
          <ac:chgData name="Eileen Fleming Suse" userId="S::efs3844@ads.northwestern.edu::725c94ef-d051-42d7-9d33-8572765d592b" providerId="AD" clId="Web-{AFE245F6-AF84-51BF-AB4C-88F7188B99E6}" dt="2023-10-31T20:12:57.852" v="66"/>
          <ac:spMkLst>
            <pc:docMk/>
            <pc:sldMk cId="3030449316" sldId="579"/>
            <ac:spMk id="44" creationId="{00000000-0000-0000-0000-000000000000}"/>
          </ac:spMkLst>
        </pc:spChg>
        <pc:spChg chg="mod">
          <ac:chgData name="Eileen Fleming Suse" userId="S::efs3844@ads.northwestern.edu::725c94ef-d051-42d7-9d33-8572765d592b" providerId="AD" clId="Web-{AFE245F6-AF84-51BF-AB4C-88F7188B99E6}" dt="2023-10-31T20:06:34.155" v="29" actId="1076"/>
          <ac:spMkLst>
            <pc:docMk/>
            <pc:sldMk cId="3030449316" sldId="579"/>
            <ac:spMk id="46" creationId="{00000000-0000-0000-0000-000000000000}"/>
          </ac:spMkLst>
        </pc:spChg>
        <pc:spChg chg="mod">
          <ac:chgData name="Eileen Fleming Suse" userId="S::efs3844@ads.northwestern.edu::725c94ef-d051-42d7-9d33-8572765d592b" providerId="AD" clId="Web-{AFE245F6-AF84-51BF-AB4C-88F7188B99E6}" dt="2023-10-31T20:05:56.186" v="19" actId="1076"/>
          <ac:spMkLst>
            <pc:docMk/>
            <pc:sldMk cId="3030449316" sldId="579"/>
            <ac:spMk id="47" creationId="{00000000-0000-0000-0000-000000000000}"/>
          </ac:spMkLst>
        </pc:spChg>
        <pc:spChg chg="mod">
          <ac:chgData name="Eileen Fleming Suse" userId="S::efs3844@ads.northwestern.edu::725c94ef-d051-42d7-9d33-8572765d592b" providerId="AD" clId="Web-{AFE245F6-AF84-51BF-AB4C-88F7188B99E6}" dt="2023-10-31T20:11:15.740" v="55"/>
          <ac:spMkLst>
            <pc:docMk/>
            <pc:sldMk cId="3030449316" sldId="579"/>
            <ac:spMk id="50" creationId="{00000000-0000-0000-0000-000000000000}"/>
          </ac:spMkLst>
        </pc:spChg>
        <pc:spChg chg="mod">
          <ac:chgData name="Eileen Fleming Suse" userId="S::efs3844@ads.northwestern.edu::725c94ef-d051-42d7-9d33-8572765d592b" providerId="AD" clId="Web-{AFE245F6-AF84-51BF-AB4C-88F7188B99E6}" dt="2023-10-31T20:05:18.716" v="8" actId="1076"/>
          <ac:spMkLst>
            <pc:docMk/>
            <pc:sldMk cId="3030449316" sldId="579"/>
            <ac:spMk id="56" creationId="{AB0F7BDF-C613-8BB0-BFCB-8F26B40EC06E}"/>
          </ac:spMkLst>
        </pc:spChg>
        <pc:spChg chg="mod">
          <ac:chgData name="Eileen Fleming Suse" userId="S::efs3844@ads.northwestern.edu::725c94ef-d051-42d7-9d33-8572765d592b" providerId="AD" clId="Web-{AFE245F6-AF84-51BF-AB4C-88F7188B99E6}" dt="2023-10-31T20:14:05.056" v="69"/>
          <ac:spMkLst>
            <pc:docMk/>
            <pc:sldMk cId="3030449316" sldId="579"/>
            <ac:spMk id="57" creationId="{00246169-A4F3-5ED8-8A94-4557BB21D7AB}"/>
          </ac:spMkLst>
        </pc:spChg>
        <pc:spChg chg="mod">
          <ac:chgData name="Eileen Fleming Suse" userId="S::efs3844@ads.northwestern.edu::725c94ef-d051-42d7-9d33-8572765d592b" providerId="AD" clId="Web-{AFE245F6-AF84-51BF-AB4C-88F7188B99E6}" dt="2023-10-31T20:14:05.072" v="70"/>
          <ac:spMkLst>
            <pc:docMk/>
            <pc:sldMk cId="3030449316" sldId="579"/>
            <ac:spMk id="58" creationId="{5DE913D1-6F60-94B9-10FF-534A5E538AB8}"/>
          </ac:spMkLst>
        </pc:spChg>
        <pc:spChg chg="add mod">
          <ac:chgData name="Eileen Fleming Suse" userId="S::efs3844@ads.northwestern.edu::725c94ef-d051-42d7-9d33-8572765d592b" providerId="AD" clId="Web-{AFE245F6-AF84-51BF-AB4C-88F7188B99E6}" dt="2023-10-31T20:11:52.100" v="64" actId="1076"/>
          <ac:spMkLst>
            <pc:docMk/>
            <pc:sldMk cId="3030449316" sldId="579"/>
            <ac:spMk id="60" creationId="{A85E379C-4C1C-B6B4-A543-3DF6B25DACF8}"/>
          </ac:spMkLst>
        </pc:spChg>
        <pc:spChg chg="add mod">
          <ac:chgData name="Eileen Fleming Suse" userId="S::efs3844@ads.northwestern.edu::725c94ef-d051-42d7-9d33-8572765d592b" providerId="AD" clId="Web-{AFE245F6-AF84-51BF-AB4C-88F7188B99E6}" dt="2023-10-31T20:11:34.803" v="62" actId="1076"/>
          <ac:spMkLst>
            <pc:docMk/>
            <pc:sldMk cId="3030449316" sldId="579"/>
            <ac:spMk id="61" creationId="{24C1FDA7-3400-B267-F027-73B2E0675C53}"/>
          </ac:spMkLst>
        </pc:spChg>
        <pc:spChg chg="add mod">
          <ac:chgData name="Eileen Fleming Suse" userId="S::efs3844@ads.northwestern.edu::725c94ef-d051-42d7-9d33-8572765d592b" providerId="AD" clId="Web-{AFE245F6-AF84-51BF-AB4C-88F7188B99E6}" dt="2023-10-31T20:13:55.197" v="68" actId="1076"/>
          <ac:spMkLst>
            <pc:docMk/>
            <pc:sldMk cId="3030449316" sldId="579"/>
            <ac:spMk id="63" creationId="{76FF9F61-EDF0-6510-36D2-8E579D614428}"/>
          </ac:spMkLst>
        </pc:spChg>
        <pc:grpChg chg="mod">
          <ac:chgData name="Eileen Fleming Suse" userId="S::efs3844@ads.northwestern.edu::725c94ef-d051-42d7-9d33-8572765d592b" providerId="AD" clId="Web-{AFE245F6-AF84-51BF-AB4C-88F7188B99E6}" dt="2023-10-31T20:06:05.811" v="22" actId="14100"/>
          <ac:grpSpMkLst>
            <pc:docMk/>
            <pc:sldMk cId="3030449316" sldId="579"/>
            <ac:grpSpMk id="3" creationId="{00000000-0000-0000-0000-000000000000}"/>
          </ac:grpSpMkLst>
        </pc:grpChg>
        <pc:grpChg chg="mod">
          <ac:chgData name="Eileen Fleming Suse" userId="S::efs3844@ads.northwestern.edu::725c94ef-d051-42d7-9d33-8572765d592b" providerId="AD" clId="Web-{AFE245F6-AF84-51BF-AB4C-88F7188B99E6}" dt="2023-10-31T20:06:45.515" v="32" actId="14100"/>
          <ac:grpSpMkLst>
            <pc:docMk/>
            <pc:sldMk cId="3030449316" sldId="579"/>
            <ac:grpSpMk id="7" creationId="{00000000-0000-0000-0000-000000000000}"/>
          </ac:grpSpMkLst>
        </pc:grpChg>
        <pc:grpChg chg="mod">
          <ac:chgData name="Eileen Fleming Suse" userId="S::efs3844@ads.northwestern.edu::725c94ef-d051-42d7-9d33-8572765d592b" providerId="AD" clId="Web-{AFE245F6-AF84-51BF-AB4C-88F7188B99E6}" dt="2023-10-31T20:06:16.264" v="24" actId="14100"/>
          <ac:grpSpMkLst>
            <pc:docMk/>
            <pc:sldMk cId="3030449316" sldId="579"/>
            <ac:grpSpMk id="29" creationId="{00000000-0000-0000-0000-000000000000}"/>
          </ac:grpSpMkLst>
        </pc:grpChg>
        <pc:grpChg chg="add mod">
          <ac:chgData name="Eileen Fleming Suse" userId="S::efs3844@ads.northwestern.edu::725c94ef-d051-42d7-9d33-8572765d592b" providerId="AD" clId="Web-{AFE245F6-AF84-51BF-AB4C-88F7188B99E6}" dt="2023-10-31T20:07:27.407" v="39" actId="1076"/>
          <ac:grpSpMkLst>
            <pc:docMk/>
            <pc:sldMk cId="3030449316" sldId="579"/>
            <ac:grpSpMk id="52" creationId="{8A92A364-B996-B49C-BDA0-BAA1F5A15866}"/>
          </ac:grpSpMkLst>
        </pc:grpChg>
        <pc:cxnChg chg="mod">
          <ac:chgData name="Eileen Fleming Suse" userId="S::efs3844@ads.northwestern.edu::725c94ef-d051-42d7-9d33-8572765d592b" providerId="AD" clId="Web-{AFE245F6-AF84-51BF-AB4C-88F7188B99E6}" dt="2023-10-31T20:07:30.219" v="40" actId="14100"/>
          <ac:cxnSpMkLst>
            <pc:docMk/>
            <pc:sldMk cId="3030449316" sldId="579"/>
            <ac:cxnSpMk id="54" creationId="{52D6BD58-A1C0-4097-567A-36996C8B9E0B}"/>
          </ac:cxnSpMkLst>
        </pc:cxnChg>
        <pc:cxnChg chg="add mod">
          <ac:chgData name="Eileen Fleming Suse" userId="S::efs3844@ads.northwestern.edu::725c94ef-d051-42d7-9d33-8572765d592b" providerId="AD" clId="Web-{AFE245F6-AF84-51BF-AB4C-88F7188B99E6}" dt="2023-10-31T20:07:37.688" v="43" actId="14100"/>
          <ac:cxnSpMkLst>
            <pc:docMk/>
            <pc:sldMk cId="3030449316" sldId="579"/>
            <ac:cxnSpMk id="59" creationId="{6AB28071-935B-166B-0CEE-EC97EB10FF51}"/>
          </ac:cxnSpMkLst>
        </pc:cxnChg>
      </pc:sldChg>
      <pc:sldChg chg="modSp">
        <pc:chgData name="Eileen Fleming Suse" userId="S::efs3844@ads.northwestern.edu::725c94ef-d051-42d7-9d33-8572765d592b" providerId="AD" clId="Web-{AFE245F6-AF84-51BF-AB4C-88F7188B99E6}" dt="2023-10-31T20:15:08.574" v="74" actId="1076"/>
        <pc:sldMkLst>
          <pc:docMk/>
          <pc:sldMk cId="595546358" sldId="590"/>
        </pc:sldMkLst>
        <pc:spChg chg="mod">
          <ac:chgData name="Eileen Fleming Suse" userId="S::efs3844@ads.northwestern.edu::725c94ef-d051-42d7-9d33-8572765d592b" providerId="AD" clId="Web-{AFE245F6-AF84-51BF-AB4C-88F7188B99E6}" dt="2023-10-31T20:15:08.574" v="74" actId="1076"/>
          <ac:spMkLst>
            <pc:docMk/>
            <pc:sldMk cId="595546358" sldId="590"/>
            <ac:spMk id="30" creationId="{53721EF8-C35D-834E-9339-D65FFE7AFF9A}"/>
          </ac:spMkLst>
        </pc:spChg>
      </pc:sldChg>
    </pc:docChg>
  </pc:docChgLst>
  <pc:docChgLst>
    <pc:chgData name="Eileen Fleming Suse" userId="S::efs3844@ads.northwestern.edu::725c94ef-d051-42d7-9d33-8572765d592b" providerId="AD" clId="Web-{8024C570-7E9A-022B-CE90-C0FD861720C1}"/>
    <pc:docChg chg="addSld modSld">
      <pc:chgData name="Eileen Fleming Suse" userId="S::efs3844@ads.northwestern.edu::725c94ef-d051-42d7-9d33-8572765d592b" providerId="AD" clId="Web-{8024C570-7E9A-022B-CE90-C0FD861720C1}" dt="2023-10-23T23:03:50.878" v="517"/>
      <pc:docMkLst>
        <pc:docMk/>
      </pc:docMkLst>
      <pc:sldChg chg="modSp">
        <pc:chgData name="Eileen Fleming Suse" userId="S::efs3844@ads.northwestern.edu::725c94ef-d051-42d7-9d33-8572765d592b" providerId="AD" clId="Web-{8024C570-7E9A-022B-CE90-C0FD861720C1}" dt="2023-10-23T22:30:55.096" v="1" actId="20577"/>
        <pc:sldMkLst>
          <pc:docMk/>
          <pc:sldMk cId="3127921386" sldId="280"/>
        </pc:sldMkLst>
        <pc:spChg chg="mod">
          <ac:chgData name="Eileen Fleming Suse" userId="S::efs3844@ads.northwestern.edu::725c94ef-d051-42d7-9d33-8572765d592b" providerId="AD" clId="Web-{8024C570-7E9A-022B-CE90-C0FD861720C1}" dt="2023-10-23T22:30:55.096" v="1" actId="20577"/>
          <ac:spMkLst>
            <pc:docMk/>
            <pc:sldMk cId="3127921386" sldId="280"/>
            <ac:spMk id="4" creationId="{19922563-64D6-2A4E-B048-13AC25DB45AD}"/>
          </ac:spMkLst>
        </pc:spChg>
      </pc:sldChg>
      <pc:sldChg chg="modSp">
        <pc:chgData name="Eileen Fleming Suse" userId="S::efs3844@ads.northwestern.edu::725c94ef-d051-42d7-9d33-8572765d592b" providerId="AD" clId="Web-{8024C570-7E9A-022B-CE90-C0FD861720C1}" dt="2023-10-23T23:01:55.094" v="478" actId="20577"/>
        <pc:sldMkLst>
          <pc:docMk/>
          <pc:sldMk cId="4044691067" sldId="283"/>
        </pc:sldMkLst>
        <pc:spChg chg="mod">
          <ac:chgData name="Eileen Fleming Suse" userId="S::efs3844@ads.northwestern.edu::725c94ef-d051-42d7-9d33-8572765d592b" providerId="AD" clId="Web-{8024C570-7E9A-022B-CE90-C0FD861720C1}" dt="2023-10-23T23:01:55.094" v="478" actId="20577"/>
          <ac:spMkLst>
            <pc:docMk/>
            <pc:sldMk cId="4044691067" sldId="283"/>
            <ac:spMk id="16387" creationId="{00000000-0000-0000-0000-000000000000}"/>
          </ac:spMkLst>
        </pc:spChg>
      </pc:sldChg>
      <pc:sldChg chg="delCm">
        <pc:chgData name="Eileen Fleming Suse" userId="S::efs3844@ads.northwestern.edu::725c94ef-d051-42d7-9d33-8572765d592b" providerId="AD" clId="Web-{8024C570-7E9A-022B-CE90-C0FD861720C1}" dt="2023-10-23T22:43:45.317" v="154"/>
        <pc:sldMkLst>
          <pc:docMk/>
          <pc:sldMk cId="1231844700" sldId="55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8024C570-7E9A-022B-CE90-C0FD861720C1}" dt="2023-10-23T22:43:45.317" v="154"/>
              <pc2:cmMkLst xmlns:pc2="http://schemas.microsoft.com/office/powerpoint/2019/9/main/command">
                <pc:docMk/>
                <pc:sldMk cId="1231844700" sldId="554"/>
                <pc2:cmMk id="{30D146EB-BFA1-4AFA-93C4-FA1954A298F6}"/>
              </pc2:cmMkLst>
            </pc226:cmChg>
          </p:ext>
        </pc:extLst>
      </pc:sldChg>
      <pc:sldChg chg="addSp modSp">
        <pc:chgData name="Eileen Fleming Suse" userId="S::efs3844@ads.northwestern.edu::725c94ef-d051-42d7-9d33-8572765d592b" providerId="AD" clId="Web-{8024C570-7E9A-022B-CE90-C0FD861720C1}" dt="2023-10-23T22:43:34.286" v="153" actId="20577"/>
        <pc:sldMkLst>
          <pc:docMk/>
          <pc:sldMk cId="1522616096" sldId="555"/>
        </pc:sldMkLst>
        <pc:spChg chg="mod">
          <ac:chgData name="Eileen Fleming Suse" userId="S::efs3844@ads.northwestern.edu::725c94ef-d051-42d7-9d33-8572765d592b" providerId="AD" clId="Web-{8024C570-7E9A-022B-CE90-C0FD861720C1}" dt="2023-10-23T22:43:34.286" v="153" actId="20577"/>
          <ac:spMkLst>
            <pc:docMk/>
            <pc:sldMk cId="1522616096" sldId="555"/>
            <ac:spMk id="2" creationId="{F40AE700-1499-46B3-C70A-C723802CD680}"/>
          </ac:spMkLst>
        </pc:spChg>
        <pc:spChg chg="add mod">
          <ac:chgData name="Eileen Fleming Suse" userId="S::efs3844@ads.northwestern.edu::725c94ef-d051-42d7-9d33-8572765d592b" providerId="AD" clId="Web-{8024C570-7E9A-022B-CE90-C0FD861720C1}" dt="2023-10-23T22:40:06.844" v="76" actId="1076"/>
          <ac:spMkLst>
            <pc:docMk/>
            <pc:sldMk cId="1522616096" sldId="555"/>
            <ac:spMk id="3" creationId="{1C814D25-66C5-ACFC-3102-DB1C47E8E790}"/>
          </ac:spMkLst>
        </pc:spChg>
        <pc:spChg chg="add mod">
          <ac:chgData name="Eileen Fleming Suse" userId="S::efs3844@ads.northwestern.edu::725c94ef-d051-42d7-9d33-8572765d592b" providerId="AD" clId="Web-{8024C570-7E9A-022B-CE90-C0FD861720C1}" dt="2023-10-23T22:40:01.390" v="74" actId="1076"/>
          <ac:spMkLst>
            <pc:docMk/>
            <pc:sldMk cId="1522616096" sldId="555"/>
            <ac:spMk id="4" creationId="{3D49CA6C-78ED-3124-7EE3-BBDDC9988910}"/>
          </ac:spMkLst>
        </pc:spChg>
        <pc:spChg chg="add mod">
          <ac:chgData name="Eileen Fleming Suse" userId="S::efs3844@ads.northwestern.edu::725c94ef-d051-42d7-9d33-8572765d592b" providerId="AD" clId="Web-{8024C570-7E9A-022B-CE90-C0FD861720C1}" dt="2023-10-23T22:41:37.408" v="150" actId="14100"/>
          <ac:spMkLst>
            <pc:docMk/>
            <pc:sldMk cId="1522616096" sldId="555"/>
            <ac:spMk id="5" creationId="{19C1D751-08DD-BD76-1181-C434C9849C27}"/>
          </ac:spMkLst>
        </pc:spChg>
        <pc:spChg chg="mod">
          <ac:chgData name="Eileen Fleming Suse" userId="S::efs3844@ads.northwestern.edu::725c94ef-d051-42d7-9d33-8572765d592b" providerId="AD" clId="Web-{8024C570-7E9A-022B-CE90-C0FD861720C1}" dt="2023-10-23T22:39:53.359" v="70" actId="1076"/>
          <ac:spMkLst>
            <pc:docMk/>
            <pc:sldMk cId="1522616096" sldId="555"/>
            <ac:spMk id="6" creationId="{055E55DF-27B4-B9A8-84BB-DC4C1522901C}"/>
          </ac:spMkLst>
        </pc:spChg>
        <pc:spChg chg="mod">
          <ac:chgData name="Eileen Fleming Suse" userId="S::efs3844@ads.northwestern.edu::725c94ef-d051-42d7-9d33-8572765d592b" providerId="AD" clId="Web-{8024C570-7E9A-022B-CE90-C0FD861720C1}" dt="2023-10-23T22:39:53.296" v="64" actId="1076"/>
          <ac:spMkLst>
            <pc:docMk/>
            <pc:sldMk cId="1522616096" sldId="555"/>
            <ac:spMk id="7" creationId="{98AEAD99-3E06-8D3F-3F0C-CDC9176523B6}"/>
          </ac:spMkLst>
        </pc:spChg>
        <pc:spChg chg="add mod">
          <ac:chgData name="Eileen Fleming Suse" userId="S::efs3844@ads.northwestern.edu::725c94ef-d051-42d7-9d33-8572765d592b" providerId="AD" clId="Web-{8024C570-7E9A-022B-CE90-C0FD861720C1}" dt="2023-10-23T22:41:47.846" v="152" actId="14100"/>
          <ac:spMkLst>
            <pc:docMk/>
            <pc:sldMk cId="1522616096" sldId="555"/>
            <ac:spMk id="8" creationId="{6E760B7B-BD6C-24E2-33A9-EF4A040B086A}"/>
          </ac:spMkLst>
        </pc:spChg>
        <pc:spChg chg="mod">
          <ac:chgData name="Eileen Fleming Suse" userId="S::efs3844@ads.northwestern.edu::725c94ef-d051-42d7-9d33-8572765d592b" providerId="AD" clId="Web-{8024C570-7E9A-022B-CE90-C0FD861720C1}" dt="2023-10-23T22:39:53.312" v="65" actId="1076"/>
          <ac:spMkLst>
            <pc:docMk/>
            <pc:sldMk cId="1522616096" sldId="555"/>
            <ac:spMk id="9" creationId="{6DCB2364-A5B2-FB37-162C-58D7616BFAA3}"/>
          </ac:spMkLst>
        </pc:spChg>
        <pc:spChg chg="mod">
          <ac:chgData name="Eileen Fleming Suse" userId="S::efs3844@ads.northwestern.edu::725c94ef-d051-42d7-9d33-8572765d592b" providerId="AD" clId="Web-{8024C570-7E9A-022B-CE90-C0FD861720C1}" dt="2023-10-23T22:39:53.312" v="66" actId="1076"/>
          <ac:spMkLst>
            <pc:docMk/>
            <pc:sldMk cId="1522616096" sldId="555"/>
            <ac:spMk id="11" creationId="{33B71E7D-B0CF-32BF-4481-78C694C53404}"/>
          </ac:spMkLst>
        </pc:spChg>
        <pc:spChg chg="mod">
          <ac:chgData name="Eileen Fleming Suse" userId="S::efs3844@ads.northwestern.edu::725c94ef-d051-42d7-9d33-8572765d592b" providerId="AD" clId="Web-{8024C570-7E9A-022B-CE90-C0FD861720C1}" dt="2023-10-23T22:39:53.328" v="67" actId="1076"/>
          <ac:spMkLst>
            <pc:docMk/>
            <pc:sldMk cId="1522616096" sldId="555"/>
            <ac:spMk id="13" creationId="{50A7250D-02AB-B054-06E1-32E9F8FC55C0}"/>
          </ac:spMkLst>
        </pc:spChg>
        <pc:spChg chg="mod">
          <ac:chgData name="Eileen Fleming Suse" userId="S::efs3844@ads.northwestern.edu::725c94ef-d051-42d7-9d33-8572765d592b" providerId="AD" clId="Web-{8024C570-7E9A-022B-CE90-C0FD861720C1}" dt="2023-10-23T22:39:53.343" v="68" actId="1076"/>
          <ac:spMkLst>
            <pc:docMk/>
            <pc:sldMk cId="1522616096" sldId="555"/>
            <ac:spMk id="15" creationId="{63237A5A-8FBE-2248-7DAF-97A8D25F57D1}"/>
          </ac:spMkLst>
        </pc:spChg>
        <pc:spChg chg="mod">
          <ac:chgData name="Eileen Fleming Suse" userId="S::efs3844@ads.northwestern.edu::725c94ef-d051-42d7-9d33-8572765d592b" providerId="AD" clId="Web-{8024C570-7E9A-022B-CE90-C0FD861720C1}" dt="2023-10-23T22:39:53.343" v="69" actId="1076"/>
          <ac:spMkLst>
            <pc:docMk/>
            <pc:sldMk cId="1522616096" sldId="555"/>
            <ac:spMk id="17" creationId="{9694707D-377A-FF99-AFDB-26A575A618C3}"/>
          </ac:spMkLst>
        </pc:spChg>
      </pc:sldChg>
      <pc:sldChg chg="delSp modSp add replId">
        <pc:chgData name="Eileen Fleming Suse" userId="S::efs3844@ads.northwestern.edu::725c94ef-d051-42d7-9d33-8572765d592b" providerId="AD" clId="Web-{8024C570-7E9A-022B-CE90-C0FD861720C1}" dt="2023-10-23T22:53:11.409" v="475" actId="1076"/>
        <pc:sldMkLst>
          <pc:docMk/>
          <pc:sldMk cId="773696652" sldId="558"/>
        </pc:sldMkLst>
        <pc:spChg chg="mod">
          <ac:chgData name="Eileen Fleming Suse" userId="S::efs3844@ads.northwestern.edu::725c94ef-d051-42d7-9d33-8572765d592b" providerId="AD" clId="Web-{8024C570-7E9A-022B-CE90-C0FD861720C1}" dt="2023-10-23T22:53:09.534" v="474" actId="1076"/>
          <ac:spMkLst>
            <pc:docMk/>
            <pc:sldMk cId="773696652" sldId="558"/>
            <ac:spMk id="3" creationId="{1C814D25-66C5-ACFC-3102-DB1C47E8E790}"/>
          </ac:spMkLst>
        </pc:spChg>
        <pc:spChg chg="del">
          <ac:chgData name="Eileen Fleming Suse" userId="S::efs3844@ads.northwestern.edu::725c94ef-d051-42d7-9d33-8572765d592b" providerId="AD" clId="Web-{8024C570-7E9A-022B-CE90-C0FD861720C1}" dt="2023-10-23T22:44:50.569" v="171"/>
          <ac:spMkLst>
            <pc:docMk/>
            <pc:sldMk cId="773696652" sldId="558"/>
            <ac:spMk id="4" creationId="{3D49CA6C-78ED-3124-7EE3-BBDDC9988910}"/>
          </ac:spMkLst>
        </pc:spChg>
        <pc:spChg chg="mod">
          <ac:chgData name="Eileen Fleming Suse" userId="S::efs3844@ads.northwestern.edu::725c94ef-d051-42d7-9d33-8572765d592b" providerId="AD" clId="Web-{8024C570-7E9A-022B-CE90-C0FD861720C1}" dt="2023-10-23T22:53:11.409" v="475" actId="1076"/>
          <ac:spMkLst>
            <pc:docMk/>
            <pc:sldMk cId="773696652" sldId="558"/>
            <ac:spMk id="5" creationId="{19C1D751-08DD-BD76-1181-C434C9849C27}"/>
          </ac:spMkLst>
        </pc:spChg>
        <pc:spChg chg="mod">
          <ac:chgData name="Eileen Fleming Suse" userId="S::efs3844@ads.northwestern.edu::725c94ef-d051-42d7-9d33-8572765d592b" providerId="AD" clId="Web-{8024C570-7E9A-022B-CE90-C0FD861720C1}" dt="2023-10-23T22:46:54.150" v="251" actId="1076"/>
          <ac:spMkLst>
            <pc:docMk/>
            <pc:sldMk cId="773696652" sldId="558"/>
            <ac:spMk id="6" creationId="{055E55DF-27B4-B9A8-84BB-DC4C1522901C}"/>
          </ac:spMkLst>
        </pc:spChg>
        <pc:spChg chg="mod">
          <ac:chgData name="Eileen Fleming Suse" userId="S::efs3844@ads.northwestern.edu::725c94ef-d051-42d7-9d33-8572765d592b" providerId="AD" clId="Web-{8024C570-7E9A-022B-CE90-C0FD861720C1}" dt="2023-10-23T22:46:54.119" v="245" actId="1076"/>
          <ac:spMkLst>
            <pc:docMk/>
            <pc:sldMk cId="773696652" sldId="558"/>
            <ac:spMk id="7" creationId="{98AEAD99-3E06-8D3F-3F0C-CDC9176523B6}"/>
          </ac:spMkLst>
        </pc:spChg>
        <pc:spChg chg="del">
          <ac:chgData name="Eileen Fleming Suse" userId="S::efs3844@ads.northwestern.edu::725c94ef-d051-42d7-9d33-8572765d592b" providerId="AD" clId="Web-{8024C570-7E9A-022B-CE90-C0FD861720C1}" dt="2023-10-23T22:44:48.491" v="170"/>
          <ac:spMkLst>
            <pc:docMk/>
            <pc:sldMk cId="773696652" sldId="558"/>
            <ac:spMk id="8" creationId="{6E760B7B-BD6C-24E2-33A9-EF4A040B086A}"/>
          </ac:spMkLst>
        </pc:spChg>
        <pc:spChg chg="mod">
          <ac:chgData name="Eileen Fleming Suse" userId="S::efs3844@ads.northwestern.edu::725c94ef-d051-42d7-9d33-8572765d592b" providerId="AD" clId="Web-{8024C570-7E9A-022B-CE90-C0FD861720C1}" dt="2023-10-23T22:46:54.119" v="246" actId="1076"/>
          <ac:spMkLst>
            <pc:docMk/>
            <pc:sldMk cId="773696652" sldId="558"/>
            <ac:spMk id="9" creationId="{6DCB2364-A5B2-FB37-162C-58D7616BFAA3}"/>
          </ac:spMkLst>
        </pc:spChg>
        <pc:spChg chg="mod">
          <ac:chgData name="Eileen Fleming Suse" userId="S::efs3844@ads.northwestern.edu::725c94ef-d051-42d7-9d33-8572765d592b" providerId="AD" clId="Web-{8024C570-7E9A-022B-CE90-C0FD861720C1}" dt="2023-10-23T22:46:54.119" v="247" actId="1076"/>
          <ac:spMkLst>
            <pc:docMk/>
            <pc:sldMk cId="773696652" sldId="558"/>
            <ac:spMk id="11" creationId="{33B71E7D-B0CF-32BF-4481-78C694C53404}"/>
          </ac:spMkLst>
        </pc:spChg>
        <pc:spChg chg="mod">
          <ac:chgData name="Eileen Fleming Suse" userId="S::efs3844@ads.northwestern.edu::725c94ef-d051-42d7-9d33-8572765d592b" providerId="AD" clId="Web-{8024C570-7E9A-022B-CE90-C0FD861720C1}" dt="2023-10-23T22:46:54.134" v="248" actId="1076"/>
          <ac:spMkLst>
            <pc:docMk/>
            <pc:sldMk cId="773696652" sldId="558"/>
            <ac:spMk id="13" creationId="{50A7250D-02AB-B054-06E1-32E9F8FC55C0}"/>
          </ac:spMkLst>
        </pc:spChg>
        <pc:spChg chg="mod">
          <ac:chgData name="Eileen Fleming Suse" userId="S::efs3844@ads.northwestern.edu::725c94ef-d051-42d7-9d33-8572765d592b" providerId="AD" clId="Web-{8024C570-7E9A-022B-CE90-C0FD861720C1}" dt="2023-10-23T22:46:54.134" v="249" actId="1076"/>
          <ac:spMkLst>
            <pc:docMk/>
            <pc:sldMk cId="773696652" sldId="558"/>
            <ac:spMk id="15" creationId="{63237A5A-8FBE-2248-7DAF-97A8D25F57D1}"/>
          </ac:spMkLst>
        </pc:spChg>
        <pc:spChg chg="mod">
          <ac:chgData name="Eileen Fleming Suse" userId="S::efs3844@ads.northwestern.edu::725c94ef-d051-42d7-9d33-8572765d592b" providerId="AD" clId="Web-{8024C570-7E9A-022B-CE90-C0FD861720C1}" dt="2023-10-23T22:46:54.150" v="250" actId="1076"/>
          <ac:spMkLst>
            <pc:docMk/>
            <pc:sldMk cId="773696652" sldId="558"/>
            <ac:spMk id="17" creationId="{9694707D-377A-FF99-AFDB-26A575A618C3}"/>
          </ac:spMkLst>
        </pc:spChg>
      </pc:sldChg>
      <pc:sldChg chg="addSp delSp modSp new mod setBg">
        <pc:chgData name="Eileen Fleming Suse" userId="S::efs3844@ads.northwestern.edu::725c94ef-d051-42d7-9d33-8572765d592b" providerId="AD" clId="Web-{8024C570-7E9A-022B-CE90-C0FD861720C1}" dt="2023-10-23T23:03:50.878" v="517"/>
        <pc:sldMkLst>
          <pc:docMk/>
          <pc:sldMk cId="202185053" sldId="559"/>
        </pc:sldMkLst>
        <pc:spChg chg="mod">
          <ac:chgData name="Eileen Fleming Suse" userId="S::efs3844@ads.northwestern.edu::725c94ef-d051-42d7-9d33-8572765d592b" providerId="AD" clId="Web-{8024C570-7E9A-022B-CE90-C0FD861720C1}" dt="2023-10-23T23:03:50.878" v="517"/>
          <ac:spMkLst>
            <pc:docMk/>
            <pc:sldMk cId="202185053" sldId="559"/>
            <ac:spMk id="2" creationId="{4DA6F726-268B-D1E3-168E-B1D635F770C9}"/>
          </ac:spMkLst>
        </pc:spChg>
        <pc:spChg chg="del mod">
          <ac:chgData name="Eileen Fleming Suse" userId="S::efs3844@ads.northwestern.edu::725c94ef-d051-42d7-9d33-8572765d592b" providerId="AD" clId="Web-{8024C570-7E9A-022B-CE90-C0FD861720C1}" dt="2023-10-23T23:03:50.878" v="517"/>
          <ac:spMkLst>
            <pc:docMk/>
            <pc:sldMk cId="202185053" sldId="559"/>
            <ac:spMk id="3" creationId="{97C35C3F-414A-0BEC-2B1F-CEADE5601055}"/>
          </ac:spMkLst>
        </pc:spChg>
        <pc:spChg chg="add">
          <ac:chgData name="Eileen Fleming Suse" userId="S::efs3844@ads.northwestern.edu::725c94ef-d051-42d7-9d33-8572765d592b" providerId="AD" clId="Web-{8024C570-7E9A-022B-CE90-C0FD861720C1}" dt="2023-10-23T23:03:50.878" v="517"/>
          <ac:spMkLst>
            <pc:docMk/>
            <pc:sldMk cId="202185053" sldId="559"/>
            <ac:spMk id="9" creationId="{35DB3719-6FDC-4E5D-891D-FF40B7300F64}"/>
          </ac:spMkLst>
        </pc:spChg>
        <pc:spChg chg="add">
          <ac:chgData name="Eileen Fleming Suse" userId="S::efs3844@ads.northwestern.edu::725c94ef-d051-42d7-9d33-8572765d592b" providerId="AD" clId="Web-{8024C570-7E9A-022B-CE90-C0FD861720C1}" dt="2023-10-23T23:03:50.878" v="517"/>
          <ac:spMkLst>
            <pc:docMk/>
            <pc:sldMk cId="202185053" sldId="559"/>
            <ac:spMk id="11" creationId="{E0CBAC23-2E3F-4A90-BA59-F8299F6A5439}"/>
          </ac:spMkLst>
        </pc:spChg>
        <pc:graphicFrameChg chg="add">
          <ac:chgData name="Eileen Fleming Suse" userId="S::efs3844@ads.northwestern.edu::725c94ef-d051-42d7-9d33-8572765d592b" providerId="AD" clId="Web-{8024C570-7E9A-022B-CE90-C0FD861720C1}" dt="2023-10-23T23:03:50.878" v="517"/>
          <ac:graphicFrameMkLst>
            <pc:docMk/>
            <pc:sldMk cId="202185053" sldId="559"/>
            <ac:graphicFrameMk id="5" creationId="{6E278A11-E295-101C-28FB-746B039E4D18}"/>
          </ac:graphicFrameMkLst>
        </pc:graphicFrameChg>
      </pc:sldChg>
    </pc:docChg>
  </pc:docChgLst>
  <pc:docChgLst>
    <pc:chgData name="Eileen Fleming Suse" userId="S::efs3844@ads.northwestern.edu::725c94ef-d051-42d7-9d33-8572765d592b" providerId="AD" clId="Web-{85CD7F39-8F26-7081-E17F-9CFE5E103D63}"/>
    <pc:docChg chg="addSld delSld modSld sldOrd">
      <pc:chgData name="Eileen Fleming Suse" userId="S::efs3844@ads.northwestern.edu::725c94ef-d051-42d7-9d33-8572765d592b" providerId="AD" clId="Web-{85CD7F39-8F26-7081-E17F-9CFE5E103D63}" dt="2023-10-24T19:03:39.508" v="173" actId="20577"/>
      <pc:docMkLst>
        <pc:docMk/>
      </pc:docMkLst>
      <pc:sldChg chg="del">
        <pc:chgData name="Eileen Fleming Suse" userId="S::efs3844@ads.northwestern.edu::725c94ef-d051-42d7-9d33-8572765d592b" providerId="AD" clId="Web-{85CD7F39-8F26-7081-E17F-9CFE5E103D63}" dt="2023-10-24T18:21:45.536" v="0"/>
        <pc:sldMkLst>
          <pc:docMk/>
          <pc:sldMk cId="2338849283" sldId="290"/>
        </pc:sldMkLst>
      </pc:sldChg>
      <pc:sldChg chg="ord">
        <pc:chgData name="Eileen Fleming Suse" userId="S::efs3844@ads.northwestern.edu::725c94ef-d051-42d7-9d33-8572765d592b" providerId="AD" clId="Web-{85CD7F39-8F26-7081-E17F-9CFE5E103D63}" dt="2023-10-24T18:27:42.969" v="88"/>
        <pc:sldMkLst>
          <pc:docMk/>
          <pc:sldMk cId="2351229145" sldId="544"/>
        </pc:sldMkLst>
      </pc:sldChg>
      <pc:sldChg chg="modSp">
        <pc:chgData name="Eileen Fleming Suse" userId="S::efs3844@ads.northwestern.edu::725c94ef-d051-42d7-9d33-8572765d592b" providerId="AD" clId="Web-{85CD7F39-8F26-7081-E17F-9CFE5E103D63}" dt="2023-10-24T18:41:13.402" v="102" actId="20577"/>
        <pc:sldMkLst>
          <pc:docMk/>
          <pc:sldMk cId="3745706804" sldId="548"/>
        </pc:sldMkLst>
        <pc:spChg chg="mod">
          <ac:chgData name="Eileen Fleming Suse" userId="S::efs3844@ads.northwestern.edu::725c94ef-d051-42d7-9d33-8572765d592b" providerId="AD" clId="Web-{85CD7F39-8F26-7081-E17F-9CFE5E103D63}" dt="2023-10-24T18:41:13.402" v="102" actId="20577"/>
          <ac:spMkLst>
            <pc:docMk/>
            <pc:sldMk cId="3745706804" sldId="548"/>
            <ac:spMk id="3" creationId="{C0454086-94BF-0693-766D-F1659194519A}"/>
          </ac:spMkLst>
        </pc:spChg>
      </pc:sldChg>
      <pc:sldChg chg="modSp">
        <pc:chgData name="Eileen Fleming Suse" userId="S::efs3844@ads.northwestern.edu::725c94ef-d051-42d7-9d33-8572765d592b" providerId="AD" clId="Web-{85CD7F39-8F26-7081-E17F-9CFE5E103D63}" dt="2023-10-24T18:49:16.746" v="155" actId="20577"/>
        <pc:sldMkLst>
          <pc:docMk/>
          <pc:sldMk cId="3962270618" sldId="549"/>
        </pc:sldMkLst>
        <pc:spChg chg="mod">
          <ac:chgData name="Eileen Fleming Suse" userId="S::efs3844@ads.northwestern.edu::725c94ef-d051-42d7-9d33-8572765d592b" providerId="AD" clId="Web-{85CD7F39-8F26-7081-E17F-9CFE5E103D63}" dt="2023-10-24T18:49:16.746" v="155" actId="20577"/>
          <ac:spMkLst>
            <pc:docMk/>
            <pc:sldMk cId="3962270618" sldId="549"/>
            <ac:spMk id="2" creationId="{D2A51686-B2DC-CDBE-63AE-C97B6B0DBD66}"/>
          </ac:spMkLst>
        </pc:spChg>
      </pc:sldChg>
      <pc:sldChg chg="modNotes">
        <pc:chgData name="Eileen Fleming Suse" userId="S::efs3844@ads.northwestern.edu::725c94ef-d051-42d7-9d33-8572765d592b" providerId="AD" clId="Web-{85CD7F39-8F26-7081-E17F-9CFE5E103D63}" dt="2023-10-24T18:49:47.856" v="156"/>
        <pc:sldMkLst>
          <pc:docMk/>
          <pc:sldMk cId="2562283095" sldId="551"/>
        </pc:sldMkLst>
      </pc:sldChg>
      <pc:sldChg chg="modSp">
        <pc:chgData name="Eileen Fleming Suse" userId="S::efs3844@ads.northwestern.edu::725c94ef-d051-42d7-9d33-8572765d592b" providerId="AD" clId="Web-{85CD7F39-8F26-7081-E17F-9CFE5E103D63}" dt="2023-10-24T18:22:25.365" v="2" actId="20577"/>
        <pc:sldMkLst>
          <pc:docMk/>
          <pc:sldMk cId="1522616096" sldId="555"/>
        </pc:sldMkLst>
        <pc:spChg chg="mod">
          <ac:chgData name="Eileen Fleming Suse" userId="S::efs3844@ads.northwestern.edu::725c94ef-d051-42d7-9d33-8572765d592b" providerId="AD" clId="Web-{85CD7F39-8F26-7081-E17F-9CFE5E103D63}" dt="2023-10-24T18:22:25.365" v="2" actId="20577"/>
          <ac:spMkLst>
            <pc:docMk/>
            <pc:sldMk cId="1522616096" sldId="555"/>
            <ac:spMk id="13" creationId="{50A7250D-02AB-B054-06E1-32E9F8FC55C0}"/>
          </ac:spMkLst>
        </pc:spChg>
      </pc:sldChg>
      <pc:sldChg chg="modSp ord">
        <pc:chgData name="Eileen Fleming Suse" userId="S::efs3844@ads.northwestern.edu::725c94ef-d051-42d7-9d33-8572765d592b" providerId="AD" clId="Web-{85CD7F39-8F26-7081-E17F-9CFE5E103D63}" dt="2023-10-24T18:23:33.867" v="6" actId="20577"/>
        <pc:sldMkLst>
          <pc:docMk/>
          <pc:sldMk cId="773696652" sldId="558"/>
        </pc:sldMkLst>
        <pc:spChg chg="mod">
          <ac:chgData name="Eileen Fleming Suse" userId="S::efs3844@ads.northwestern.edu::725c94ef-d051-42d7-9d33-8572765d592b" providerId="AD" clId="Web-{85CD7F39-8F26-7081-E17F-9CFE5E103D63}" dt="2023-10-24T18:23:33.867" v="6" actId="20577"/>
          <ac:spMkLst>
            <pc:docMk/>
            <pc:sldMk cId="773696652" sldId="558"/>
            <ac:spMk id="13" creationId="{50A7250D-02AB-B054-06E1-32E9F8FC55C0}"/>
          </ac:spMkLst>
        </pc:spChg>
      </pc:sldChg>
      <pc:sldChg chg="modSp">
        <pc:chgData name="Eileen Fleming Suse" userId="S::efs3844@ads.northwestern.edu::725c94ef-d051-42d7-9d33-8572765d592b" providerId="AD" clId="Web-{85CD7F39-8F26-7081-E17F-9CFE5E103D63}" dt="2023-10-24T19:03:39.508" v="173" actId="20577"/>
        <pc:sldMkLst>
          <pc:docMk/>
          <pc:sldMk cId="3067427377" sldId="560"/>
        </pc:sldMkLst>
        <pc:spChg chg="mod">
          <ac:chgData name="Eileen Fleming Suse" userId="S::efs3844@ads.northwestern.edu::725c94ef-d051-42d7-9d33-8572765d592b" providerId="AD" clId="Web-{85CD7F39-8F26-7081-E17F-9CFE5E103D63}" dt="2023-10-24T19:03:39.508" v="173" actId="20577"/>
          <ac:spMkLst>
            <pc:docMk/>
            <pc:sldMk cId="3067427377" sldId="560"/>
            <ac:spMk id="2" creationId="{85302686-DF06-3304-66CB-1E21F4D086DC}"/>
          </ac:spMkLst>
        </pc:spChg>
      </pc:sldChg>
      <pc:sldChg chg="ord">
        <pc:chgData name="Eileen Fleming Suse" userId="S::efs3844@ads.northwestern.edu::725c94ef-d051-42d7-9d33-8572765d592b" providerId="AD" clId="Web-{85CD7F39-8F26-7081-E17F-9CFE5E103D63}" dt="2023-10-24T19:02:03.568" v="160"/>
        <pc:sldMkLst>
          <pc:docMk/>
          <pc:sldMk cId="1536434647" sldId="564"/>
        </pc:sldMkLst>
      </pc:sldChg>
      <pc:sldChg chg="del">
        <pc:chgData name="Eileen Fleming Suse" userId="S::efs3844@ads.northwestern.edu::725c94ef-d051-42d7-9d33-8572765d592b" providerId="AD" clId="Web-{85CD7F39-8F26-7081-E17F-9CFE5E103D63}" dt="2023-10-24T18:31:12.851" v="91"/>
        <pc:sldMkLst>
          <pc:docMk/>
          <pc:sldMk cId="1415571005" sldId="572"/>
        </pc:sldMkLst>
      </pc:sldChg>
      <pc:sldChg chg="del">
        <pc:chgData name="Eileen Fleming Suse" userId="S::efs3844@ads.northwestern.edu::725c94ef-d051-42d7-9d33-8572765d592b" providerId="AD" clId="Web-{85CD7F39-8F26-7081-E17F-9CFE5E103D63}" dt="2023-10-24T18:31:16.023" v="92"/>
        <pc:sldMkLst>
          <pc:docMk/>
          <pc:sldMk cId="2901982042" sldId="573"/>
        </pc:sldMkLst>
      </pc:sldChg>
      <pc:sldChg chg="modNotes">
        <pc:chgData name="Eileen Fleming Suse" userId="S::efs3844@ads.northwestern.edu::725c94ef-d051-42d7-9d33-8572765d592b" providerId="AD" clId="Web-{85CD7F39-8F26-7081-E17F-9CFE5E103D63}" dt="2023-10-24T18:28:21.080" v="90"/>
        <pc:sldMkLst>
          <pc:docMk/>
          <pc:sldMk cId="1407824229" sldId="576"/>
        </pc:sldMkLst>
      </pc:sldChg>
      <pc:sldChg chg="modSp new mod modClrScheme chgLayout modNotes">
        <pc:chgData name="Eileen Fleming Suse" userId="S::efs3844@ads.northwestern.edu::725c94ef-d051-42d7-9d33-8572765d592b" providerId="AD" clId="Web-{85CD7F39-8F26-7081-E17F-9CFE5E103D63}" dt="2023-10-24T19:00:23.346" v="159"/>
        <pc:sldMkLst>
          <pc:docMk/>
          <pc:sldMk cId="4290994232" sldId="578"/>
        </pc:sldMkLst>
        <pc:spChg chg="mod ord">
          <ac:chgData name="Eileen Fleming Suse" userId="S::efs3844@ads.northwestern.edu::725c94ef-d051-42d7-9d33-8572765d592b" providerId="AD" clId="Web-{85CD7F39-8F26-7081-E17F-9CFE5E103D63}" dt="2023-10-24T18:26:58.624" v="67"/>
          <ac:spMkLst>
            <pc:docMk/>
            <pc:sldMk cId="4290994232" sldId="578"/>
            <ac:spMk id="2" creationId="{3089D313-1FE9-8E3B-E1C1-8D63F9537E7C}"/>
          </ac:spMkLst>
        </pc:spChg>
        <pc:spChg chg="mod ord">
          <ac:chgData name="Eileen Fleming Suse" userId="S::efs3844@ads.northwestern.edu::725c94ef-d051-42d7-9d33-8572765d592b" providerId="AD" clId="Web-{85CD7F39-8F26-7081-E17F-9CFE5E103D63}" dt="2023-10-24T18:26:58.624" v="67"/>
          <ac:spMkLst>
            <pc:docMk/>
            <pc:sldMk cId="4290994232" sldId="578"/>
            <ac:spMk id="3" creationId="{CFAA9E52-251F-FEC4-DD99-459D2CFCC90C}"/>
          </ac:spMkLst>
        </pc:spChg>
      </pc:sldChg>
    </pc:docChg>
  </pc:docChgLst>
  <pc:docChgLst>
    <pc:chgData name="Alana Rivera" userId="S::arg3669@ads.northwestern.edu::fc8b707a-b7e9-4f2a-8d71-2d76819b7881" providerId="AD" clId="Web-{6E7D2AD5-DB8B-40D0-4266-03B609A243B6}"/>
    <pc:docChg chg="modSld">
      <pc:chgData name="Alana Rivera" userId="S::arg3669@ads.northwestern.edu::fc8b707a-b7e9-4f2a-8d71-2d76819b7881" providerId="AD" clId="Web-{6E7D2AD5-DB8B-40D0-4266-03B609A243B6}" dt="2024-01-09T16:18:29.383" v="12"/>
      <pc:docMkLst>
        <pc:docMk/>
      </pc:docMkLst>
      <pc:sldChg chg="delSp">
        <pc:chgData name="Alana Rivera" userId="S::arg3669@ads.northwestern.edu::fc8b707a-b7e9-4f2a-8d71-2d76819b7881" providerId="AD" clId="Web-{6E7D2AD5-DB8B-40D0-4266-03B609A243B6}" dt="2024-01-09T16:18:29.383" v="12"/>
        <pc:sldMkLst>
          <pc:docMk/>
          <pc:sldMk cId="3462412353" sldId="773"/>
        </pc:sldMkLst>
        <pc:spChg chg="del">
          <ac:chgData name="Alana Rivera" userId="S::arg3669@ads.northwestern.edu::fc8b707a-b7e9-4f2a-8d71-2d76819b7881" providerId="AD" clId="Web-{6E7D2AD5-DB8B-40D0-4266-03B609A243B6}" dt="2024-01-09T16:18:29.383" v="12"/>
          <ac:spMkLst>
            <pc:docMk/>
            <pc:sldMk cId="3462412353" sldId="773"/>
            <ac:spMk id="4" creationId="{AA4D8A5E-2359-C72F-DA7C-841511992AE7}"/>
          </ac:spMkLst>
        </pc:spChg>
      </pc:sldChg>
      <pc:sldChg chg="addSp modSp">
        <pc:chgData name="Alana Rivera" userId="S::arg3669@ads.northwestern.edu::fc8b707a-b7e9-4f2a-8d71-2d76819b7881" providerId="AD" clId="Web-{6E7D2AD5-DB8B-40D0-4266-03B609A243B6}" dt="2024-01-09T16:16:49.521" v="11"/>
        <pc:sldMkLst>
          <pc:docMk/>
          <pc:sldMk cId="2951495738" sldId="775"/>
        </pc:sldMkLst>
        <pc:picChg chg="add mod">
          <ac:chgData name="Alana Rivera" userId="S::arg3669@ads.northwestern.edu::fc8b707a-b7e9-4f2a-8d71-2d76819b7881" providerId="AD" clId="Web-{6E7D2AD5-DB8B-40D0-4266-03B609A243B6}" dt="2024-01-09T16:16:41.146" v="10"/>
          <ac:picMkLst>
            <pc:docMk/>
            <pc:sldMk cId="2951495738" sldId="775"/>
            <ac:picMk id="3" creationId="{76384EC7-5EF9-FEC7-968A-891DB6207416}"/>
          </ac:picMkLst>
        </pc:picChg>
        <pc:picChg chg="add mod">
          <ac:chgData name="Alana Rivera" userId="S::arg3669@ads.northwestern.edu::fc8b707a-b7e9-4f2a-8d71-2d76819b7881" providerId="AD" clId="Web-{6E7D2AD5-DB8B-40D0-4266-03B609A243B6}" dt="2024-01-09T16:16:49.521" v="11"/>
          <ac:picMkLst>
            <pc:docMk/>
            <pc:sldMk cId="2951495738" sldId="775"/>
            <ac:picMk id="6" creationId="{9642BB8D-9271-B591-762C-B1572E7BB26C}"/>
          </ac:picMkLst>
        </pc:picChg>
      </pc:sldChg>
      <pc:sldChg chg="modSp">
        <pc:chgData name="Alana Rivera" userId="S::arg3669@ads.northwestern.edu::fc8b707a-b7e9-4f2a-8d71-2d76819b7881" providerId="AD" clId="Web-{6E7D2AD5-DB8B-40D0-4266-03B609A243B6}" dt="2024-01-09T16:15:06.472" v="3" actId="20577"/>
        <pc:sldMkLst>
          <pc:docMk/>
          <pc:sldMk cId="3952621467" sldId="779"/>
        </pc:sldMkLst>
        <pc:spChg chg="mod">
          <ac:chgData name="Alana Rivera" userId="S::arg3669@ads.northwestern.edu::fc8b707a-b7e9-4f2a-8d71-2d76819b7881" providerId="AD" clId="Web-{6E7D2AD5-DB8B-40D0-4266-03B609A243B6}" dt="2024-01-09T16:15:06.472" v="3" actId="20577"/>
          <ac:spMkLst>
            <pc:docMk/>
            <pc:sldMk cId="3952621467" sldId="779"/>
            <ac:spMk id="7" creationId="{5BDCD7E9-0895-8935-4DB8-19819607476B}"/>
          </ac:spMkLst>
        </pc:spChg>
      </pc:sldChg>
    </pc:docChg>
  </pc:docChgLst>
  <pc:docChgLst>
    <pc:chgData name="Eileen Fleming Suse" userId="S::efs3844@ads.northwestern.edu::725c94ef-d051-42d7-9d33-8572765d592b" providerId="AD" clId="Web-{D053432C-5284-0617-FAB1-59D94F6E44F4}"/>
    <pc:docChg chg="addSld delSld modSld sldOrd">
      <pc:chgData name="Eileen Fleming Suse" userId="S::efs3844@ads.northwestern.edu::725c94ef-d051-42d7-9d33-8572765d592b" providerId="AD" clId="Web-{D053432C-5284-0617-FAB1-59D94F6E44F4}" dt="2024-01-11T22:27:54.210" v="1839" actId="20577"/>
      <pc:docMkLst>
        <pc:docMk/>
      </pc:docMkLst>
      <pc:sldChg chg="modSp">
        <pc:chgData name="Eileen Fleming Suse" userId="S::efs3844@ads.northwestern.edu::725c94ef-d051-42d7-9d33-8572765d592b" providerId="AD" clId="Web-{D053432C-5284-0617-FAB1-59D94F6E44F4}" dt="2024-01-08T21:29:20.021" v="145" actId="20577"/>
        <pc:sldMkLst>
          <pc:docMk/>
          <pc:sldMk cId="4044691067" sldId="283"/>
        </pc:sldMkLst>
        <pc:spChg chg="mod">
          <ac:chgData name="Eileen Fleming Suse" userId="S::efs3844@ads.northwestern.edu::725c94ef-d051-42d7-9d33-8572765d592b" providerId="AD" clId="Web-{D053432C-5284-0617-FAB1-59D94F6E44F4}" dt="2024-01-08T21:29:20.021" v="145"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D053432C-5284-0617-FAB1-59D94F6E44F4}" dt="2024-01-08T21:29:40.631" v="147"/>
        <pc:sldMkLst>
          <pc:docMk/>
          <pc:sldMk cId="2167430157" sldId="764"/>
        </pc:sldMkLst>
      </pc:sldChg>
      <pc:sldChg chg="modSp ord modNotes">
        <pc:chgData name="Eileen Fleming Suse" userId="S::efs3844@ads.northwestern.edu::725c94ef-d051-42d7-9d33-8572765d592b" providerId="AD" clId="Web-{D053432C-5284-0617-FAB1-59D94F6E44F4}" dt="2024-01-10T00:29:49.315" v="1685"/>
        <pc:sldMkLst>
          <pc:docMk/>
          <pc:sldMk cId="2730238647" sldId="766"/>
        </pc:sldMkLst>
        <pc:graphicFrameChg chg="mod modGraphic">
          <ac:chgData name="Eileen Fleming Suse" userId="S::efs3844@ads.northwestern.edu::725c94ef-d051-42d7-9d33-8572765d592b" providerId="AD" clId="Web-{D053432C-5284-0617-FAB1-59D94F6E44F4}" dt="2024-01-09T19:28:06.771" v="778" actId="1076"/>
          <ac:graphicFrameMkLst>
            <pc:docMk/>
            <pc:sldMk cId="2730238647" sldId="766"/>
            <ac:graphicFrameMk id="7" creationId="{00000000-0000-0000-0000-000000000000}"/>
          </ac:graphicFrameMkLst>
        </pc:graphicFrameChg>
      </pc:sldChg>
      <pc:sldChg chg="modNotes">
        <pc:chgData name="Eileen Fleming Suse" userId="S::efs3844@ads.northwestern.edu::725c94ef-d051-42d7-9d33-8572765d592b" providerId="AD" clId="Web-{D053432C-5284-0617-FAB1-59D94F6E44F4}" dt="2024-01-09T19:31:43.057" v="854"/>
        <pc:sldMkLst>
          <pc:docMk/>
          <pc:sldMk cId="1177085520" sldId="767"/>
        </pc:sldMkLst>
      </pc:sldChg>
      <pc:sldChg chg="modSp">
        <pc:chgData name="Eileen Fleming Suse" userId="S::efs3844@ads.northwestern.edu::725c94ef-d051-42d7-9d33-8572765d592b" providerId="AD" clId="Web-{D053432C-5284-0617-FAB1-59D94F6E44F4}" dt="2024-01-11T14:45:28.651" v="1733" actId="20577"/>
        <pc:sldMkLst>
          <pc:docMk/>
          <pc:sldMk cId="1549218491" sldId="768"/>
        </pc:sldMkLst>
        <pc:spChg chg="mod">
          <ac:chgData name="Eileen Fleming Suse" userId="S::efs3844@ads.northwestern.edu::725c94ef-d051-42d7-9d33-8572765d592b" providerId="AD" clId="Web-{D053432C-5284-0617-FAB1-59D94F6E44F4}" dt="2024-01-11T14:45:28.651" v="1733" actId="20577"/>
          <ac:spMkLst>
            <pc:docMk/>
            <pc:sldMk cId="1549218491" sldId="768"/>
            <ac:spMk id="10" creationId="{00000000-0000-0000-0000-000000000000}"/>
          </ac:spMkLst>
        </pc:spChg>
      </pc:sldChg>
      <pc:sldChg chg="modSp">
        <pc:chgData name="Eileen Fleming Suse" userId="S::efs3844@ads.northwestern.edu::725c94ef-d051-42d7-9d33-8572765d592b" providerId="AD" clId="Web-{D053432C-5284-0617-FAB1-59D94F6E44F4}" dt="2024-01-11T14:41:47.285" v="1730" actId="1076"/>
        <pc:sldMkLst>
          <pc:docMk/>
          <pc:sldMk cId="4074859317" sldId="769"/>
        </pc:sldMkLst>
        <pc:spChg chg="mod">
          <ac:chgData name="Eileen Fleming Suse" userId="S::efs3844@ads.northwestern.edu::725c94ef-d051-42d7-9d33-8572765d592b" providerId="AD" clId="Web-{D053432C-5284-0617-FAB1-59D94F6E44F4}" dt="2024-01-11T14:41:47.285" v="1730" actId="1076"/>
          <ac:spMkLst>
            <pc:docMk/>
            <pc:sldMk cId="4074859317" sldId="769"/>
            <ac:spMk id="7" creationId="{00000000-0000-0000-0000-000000000000}"/>
          </ac:spMkLst>
        </pc:spChg>
      </pc:sldChg>
      <pc:sldChg chg="modSp del">
        <pc:chgData name="Eileen Fleming Suse" userId="S::efs3844@ads.northwestern.edu::725c94ef-d051-42d7-9d33-8572765d592b" providerId="AD" clId="Web-{D053432C-5284-0617-FAB1-59D94F6E44F4}" dt="2024-01-11T22:26:51.615" v="1805"/>
        <pc:sldMkLst>
          <pc:docMk/>
          <pc:sldMk cId="3174384986" sldId="770"/>
        </pc:sldMkLst>
        <pc:spChg chg="mod">
          <ac:chgData name="Eileen Fleming Suse" userId="S::efs3844@ads.northwestern.edu::725c94ef-d051-42d7-9d33-8572765d592b" providerId="AD" clId="Web-{D053432C-5284-0617-FAB1-59D94F6E44F4}" dt="2024-01-08T21:17:09.691" v="114"/>
          <ac:spMkLst>
            <pc:docMk/>
            <pc:sldMk cId="3174384986" sldId="770"/>
            <ac:spMk id="2" creationId="{00000000-0000-0000-0000-000000000000}"/>
          </ac:spMkLst>
        </pc:spChg>
      </pc:sldChg>
      <pc:sldChg chg="modSp">
        <pc:chgData name="Eileen Fleming Suse" userId="S::efs3844@ads.northwestern.edu::725c94ef-d051-42d7-9d33-8572765d592b" providerId="AD" clId="Web-{D053432C-5284-0617-FAB1-59D94F6E44F4}" dt="2024-01-08T21:16:56.003" v="111"/>
        <pc:sldMkLst>
          <pc:docMk/>
          <pc:sldMk cId="661046635" sldId="771"/>
        </pc:sldMkLst>
        <pc:spChg chg="mod">
          <ac:chgData name="Eileen Fleming Suse" userId="S::efs3844@ads.northwestern.edu::725c94ef-d051-42d7-9d33-8572765d592b" providerId="AD" clId="Web-{D053432C-5284-0617-FAB1-59D94F6E44F4}" dt="2024-01-08T21:16:56.003" v="111"/>
          <ac:spMkLst>
            <pc:docMk/>
            <pc:sldMk cId="661046635" sldId="771"/>
            <ac:spMk id="2" creationId="{00000000-0000-0000-0000-000000000000}"/>
          </ac:spMkLst>
        </pc:spChg>
        <pc:spChg chg="mod">
          <ac:chgData name="Eileen Fleming Suse" userId="S::efs3844@ads.northwestern.edu::725c94ef-d051-42d7-9d33-8572765d592b" providerId="AD" clId="Web-{D053432C-5284-0617-FAB1-59D94F6E44F4}" dt="2024-01-08T21:16:49.940" v="110" actId="20577"/>
          <ac:spMkLst>
            <pc:docMk/>
            <pc:sldMk cId="661046635" sldId="771"/>
            <ac:spMk id="8" creationId="{00000000-0000-0000-0000-000000000000}"/>
          </ac:spMkLst>
        </pc:spChg>
      </pc:sldChg>
      <pc:sldChg chg="addSp delSp modSp">
        <pc:chgData name="Eileen Fleming Suse" userId="S::efs3844@ads.northwestern.edu::725c94ef-d051-42d7-9d33-8572765d592b" providerId="AD" clId="Web-{D053432C-5284-0617-FAB1-59D94F6E44F4}" dt="2024-01-08T21:13:08.575" v="69" actId="688"/>
        <pc:sldMkLst>
          <pc:docMk/>
          <pc:sldMk cId="1961791320" sldId="772"/>
        </pc:sldMkLst>
        <pc:spChg chg="del">
          <ac:chgData name="Eileen Fleming Suse" userId="S::efs3844@ads.northwestern.edu::725c94ef-d051-42d7-9d33-8572765d592b" providerId="AD" clId="Web-{D053432C-5284-0617-FAB1-59D94F6E44F4}" dt="2024-01-08T21:09:45.883" v="10"/>
          <ac:spMkLst>
            <pc:docMk/>
            <pc:sldMk cId="1961791320" sldId="772"/>
            <ac:spMk id="3" creationId="{E1057B13-E9AF-F46E-F60D-39877C8AA961}"/>
          </ac:spMkLst>
        </pc:spChg>
        <pc:spChg chg="add del">
          <ac:chgData name="Eileen Fleming Suse" userId="S::efs3844@ads.northwestern.edu::725c94ef-d051-42d7-9d33-8572765d592b" providerId="AD" clId="Web-{D053432C-5284-0617-FAB1-59D94F6E44F4}" dt="2024-01-08T21:10:03.149" v="13"/>
          <ac:spMkLst>
            <pc:docMk/>
            <pc:sldMk cId="1961791320" sldId="772"/>
            <ac:spMk id="7" creationId="{F9B19C64-7E03-2096-2171-0F4F53E4A9EC}"/>
          </ac:spMkLst>
        </pc:spChg>
        <pc:spChg chg="add mod">
          <ac:chgData name="Eileen Fleming Suse" userId="S::efs3844@ads.northwestern.edu::725c94ef-d051-42d7-9d33-8572765d592b" providerId="AD" clId="Web-{D053432C-5284-0617-FAB1-59D94F6E44F4}" dt="2024-01-08T21:11:25.088" v="48" actId="1076"/>
          <ac:spMkLst>
            <pc:docMk/>
            <pc:sldMk cId="1961791320" sldId="772"/>
            <ac:spMk id="8" creationId="{C3038878-2635-384E-3588-1C0333F4228F}"/>
          </ac:spMkLst>
        </pc:spChg>
        <pc:spChg chg="add del">
          <ac:chgData name="Eileen Fleming Suse" userId="S::efs3844@ads.northwestern.edu::725c94ef-d051-42d7-9d33-8572765d592b" providerId="AD" clId="Web-{D053432C-5284-0617-FAB1-59D94F6E44F4}" dt="2024-01-08T21:10:29.259" v="21"/>
          <ac:spMkLst>
            <pc:docMk/>
            <pc:sldMk cId="1961791320" sldId="772"/>
            <ac:spMk id="9" creationId="{8BE6519B-91F4-0DCA-C5AC-83C4A3C5134A}"/>
          </ac:spMkLst>
        </pc:spChg>
        <pc:spChg chg="add del">
          <ac:chgData name="Eileen Fleming Suse" userId="S::efs3844@ads.northwestern.edu::725c94ef-d051-42d7-9d33-8572765d592b" providerId="AD" clId="Web-{D053432C-5284-0617-FAB1-59D94F6E44F4}" dt="2024-01-08T21:10:34.790" v="23"/>
          <ac:spMkLst>
            <pc:docMk/>
            <pc:sldMk cId="1961791320" sldId="772"/>
            <ac:spMk id="10" creationId="{3811C915-F1F6-BDBF-2619-FECAC14AFA3A}"/>
          </ac:spMkLst>
        </pc:spChg>
        <pc:spChg chg="add del">
          <ac:chgData name="Eileen Fleming Suse" userId="S::efs3844@ads.northwestern.edu::725c94ef-d051-42d7-9d33-8572765d592b" providerId="AD" clId="Web-{D053432C-5284-0617-FAB1-59D94F6E44F4}" dt="2024-01-08T21:10:34.899" v="25"/>
          <ac:spMkLst>
            <pc:docMk/>
            <pc:sldMk cId="1961791320" sldId="772"/>
            <ac:spMk id="11" creationId="{E1DF1B10-092A-4D68-F904-F0725E748B9B}"/>
          </ac:spMkLst>
        </pc:spChg>
        <pc:spChg chg="add del">
          <ac:chgData name="Eileen Fleming Suse" userId="S::efs3844@ads.northwestern.edu::725c94ef-d051-42d7-9d33-8572765d592b" providerId="AD" clId="Web-{D053432C-5284-0617-FAB1-59D94F6E44F4}" dt="2024-01-08T21:10:38.775" v="27"/>
          <ac:spMkLst>
            <pc:docMk/>
            <pc:sldMk cId="1961791320" sldId="772"/>
            <ac:spMk id="12" creationId="{1C0DF700-AD11-D31A-1031-057AB910EB87}"/>
          </ac:spMkLst>
        </pc:spChg>
        <pc:spChg chg="add mod">
          <ac:chgData name="Eileen Fleming Suse" userId="S::efs3844@ads.northwestern.edu::725c94ef-d051-42d7-9d33-8572765d592b" providerId="AD" clId="Web-{D053432C-5284-0617-FAB1-59D94F6E44F4}" dt="2024-01-08T21:12:11.042" v="54" actId="20577"/>
          <ac:spMkLst>
            <pc:docMk/>
            <pc:sldMk cId="1961791320" sldId="772"/>
            <ac:spMk id="13" creationId="{9DC5C302-7AA6-34F8-4F89-806E68BD81B5}"/>
          </ac:spMkLst>
        </pc:spChg>
        <pc:spChg chg="add mod">
          <ac:chgData name="Eileen Fleming Suse" userId="S::efs3844@ads.northwestern.edu::725c94ef-d051-42d7-9d33-8572765d592b" providerId="AD" clId="Web-{D053432C-5284-0617-FAB1-59D94F6E44F4}" dt="2024-01-08T21:13:08.575" v="69" actId="688"/>
          <ac:spMkLst>
            <pc:docMk/>
            <pc:sldMk cId="1961791320" sldId="772"/>
            <ac:spMk id="15" creationId="{CEA5E17D-83B8-0221-9D35-886C9924A78D}"/>
          </ac:spMkLst>
        </pc:spChg>
        <pc:spChg chg="add mod">
          <ac:chgData name="Eileen Fleming Suse" userId="S::efs3844@ads.northwestern.edu::725c94ef-d051-42d7-9d33-8572765d592b" providerId="AD" clId="Web-{D053432C-5284-0617-FAB1-59D94F6E44F4}" dt="2024-01-08T21:13:08.325" v="68" actId="1076"/>
          <ac:spMkLst>
            <pc:docMk/>
            <pc:sldMk cId="1961791320" sldId="772"/>
            <ac:spMk id="16" creationId="{DB99B727-7CDB-518A-CB4B-346F91B8340E}"/>
          </ac:spMkLst>
        </pc:spChg>
        <pc:picChg chg="add mod ord">
          <ac:chgData name="Eileen Fleming Suse" userId="S::efs3844@ads.northwestern.edu::725c94ef-d051-42d7-9d33-8572765d592b" providerId="AD" clId="Web-{D053432C-5284-0617-FAB1-59D94F6E44F4}" dt="2024-01-08T21:11:08.728" v="43" actId="1076"/>
          <ac:picMkLst>
            <pc:docMk/>
            <pc:sldMk cId="1961791320" sldId="772"/>
            <ac:picMk id="6" creationId="{9E6AB7D9-754E-DDFE-827B-A8DDBC97BAE7}"/>
          </ac:picMkLst>
        </pc:picChg>
        <pc:picChg chg="add mod">
          <ac:chgData name="Eileen Fleming Suse" userId="S::efs3844@ads.northwestern.edu::725c94ef-d051-42d7-9d33-8572765d592b" providerId="AD" clId="Web-{D053432C-5284-0617-FAB1-59D94F6E44F4}" dt="2024-01-08T21:12:10.980" v="53" actId="1076"/>
          <ac:picMkLst>
            <pc:docMk/>
            <pc:sldMk cId="1961791320" sldId="772"/>
            <ac:picMk id="14" creationId="{AC3E8AF1-85D6-FBD8-C212-D67BF150CF61}"/>
          </ac:picMkLst>
        </pc:picChg>
      </pc:sldChg>
      <pc:sldChg chg="addSp modSp mod ord setBg">
        <pc:chgData name="Eileen Fleming Suse" userId="S::efs3844@ads.northwestern.edu::725c94ef-d051-42d7-9d33-8572765d592b" providerId="AD" clId="Web-{D053432C-5284-0617-FAB1-59D94F6E44F4}" dt="2024-01-08T21:29:23.303" v="146"/>
        <pc:sldMkLst>
          <pc:docMk/>
          <pc:sldMk cId="3462412353" sldId="773"/>
        </pc:sldMkLst>
        <pc:spChg chg="mod">
          <ac:chgData name="Eileen Fleming Suse" userId="S::efs3844@ads.northwestern.edu::725c94ef-d051-42d7-9d33-8572765d592b" providerId="AD" clId="Web-{D053432C-5284-0617-FAB1-59D94F6E44F4}" dt="2024-01-08T21:13:59.170" v="98"/>
          <ac:spMkLst>
            <pc:docMk/>
            <pc:sldMk cId="3462412353" sldId="773"/>
            <ac:spMk id="2" creationId="{7A590FE6-A718-DB35-8361-76567E797D89}"/>
          </ac:spMkLst>
        </pc:spChg>
        <pc:spChg chg="mod">
          <ac:chgData name="Eileen Fleming Suse" userId="S::efs3844@ads.northwestern.edu::725c94ef-d051-42d7-9d33-8572765d592b" providerId="AD" clId="Web-{D053432C-5284-0617-FAB1-59D94F6E44F4}" dt="2024-01-08T21:13:59.170" v="98"/>
          <ac:spMkLst>
            <pc:docMk/>
            <pc:sldMk cId="3462412353" sldId="773"/>
            <ac:spMk id="3" creationId="{76D5E36C-F04A-48A8-F17B-86E39E55C21E}"/>
          </ac:spMkLst>
        </pc:spChg>
        <pc:spChg chg="mod">
          <ac:chgData name="Eileen Fleming Suse" userId="S::efs3844@ads.northwestern.edu::725c94ef-d051-42d7-9d33-8572765d592b" providerId="AD" clId="Web-{D053432C-5284-0617-FAB1-59D94F6E44F4}" dt="2024-01-08T21:15:15.813" v="99" actId="20577"/>
          <ac:spMkLst>
            <pc:docMk/>
            <pc:sldMk cId="3462412353" sldId="773"/>
            <ac:spMk id="4" creationId="{AA4D8A5E-2359-C72F-DA7C-841511992AE7}"/>
          </ac:spMkLst>
        </pc:spChg>
        <pc:spChg chg="mod ord">
          <ac:chgData name="Eileen Fleming Suse" userId="S::efs3844@ads.northwestern.edu::725c94ef-d051-42d7-9d33-8572765d592b" providerId="AD" clId="Web-{D053432C-5284-0617-FAB1-59D94F6E44F4}" dt="2024-01-08T21:13:59.170" v="98"/>
          <ac:spMkLst>
            <pc:docMk/>
            <pc:sldMk cId="3462412353" sldId="773"/>
            <ac:spMk id="5" creationId="{4AD61EFC-3FF8-389F-9E2C-A095A14A17AC}"/>
          </ac:spMkLst>
        </pc:spChg>
        <pc:spChg chg="add">
          <ac:chgData name="Eileen Fleming Suse" userId="S::efs3844@ads.northwestern.edu::725c94ef-d051-42d7-9d33-8572765d592b" providerId="AD" clId="Web-{D053432C-5284-0617-FAB1-59D94F6E44F4}" dt="2024-01-08T21:13:59.170" v="98"/>
          <ac:spMkLst>
            <pc:docMk/>
            <pc:sldMk cId="3462412353" sldId="773"/>
            <ac:spMk id="10" creationId="{081EA652-8C6A-4E69-BEB9-170809474553}"/>
          </ac:spMkLst>
        </pc:spChg>
        <pc:spChg chg="add">
          <ac:chgData name="Eileen Fleming Suse" userId="S::efs3844@ads.northwestern.edu::725c94ef-d051-42d7-9d33-8572765d592b" providerId="AD" clId="Web-{D053432C-5284-0617-FAB1-59D94F6E44F4}" dt="2024-01-08T21:13:59.170" v="98"/>
          <ac:spMkLst>
            <pc:docMk/>
            <pc:sldMk cId="3462412353" sldId="773"/>
            <ac:spMk id="12" creationId="{5298780A-33B9-4EA2-8F67-DE68AD62841B}"/>
          </ac:spMkLst>
        </pc:spChg>
        <pc:spChg chg="add">
          <ac:chgData name="Eileen Fleming Suse" userId="S::efs3844@ads.northwestern.edu::725c94ef-d051-42d7-9d33-8572765d592b" providerId="AD" clId="Web-{D053432C-5284-0617-FAB1-59D94F6E44F4}" dt="2024-01-08T21:13:59.170" v="98"/>
          <ac:spMkLst>
            <pc:docMk/>
            <pc:sldMk cId="3462412353" sldId="773"/>
            <ac:spMk id="14" creationId="{7F488E8B-4E1E-4402-8935-D4E6C02615C7}"/>
          </ac:spMkLst>
        </pc:spChg>
        <pc:cxnChg chg="add">
          <ac:chgData name="Eileen Fleming Suse" userId="S::efs3844@ads.northwestern.edu::725c94ef-d051-42d7-9d33-8572765d592b" providerId="AD" clId="Web-{D053432C-5284-0617-FAB1-59D94F6E44F4}" dt="2024-01-08T21:13:59.170" v="98"/>
          <ac:cxnSpMkLst>
            <pc:docMk/>
            <pc:sldMk cId="3462412353" sldId="773"/>
            <ac:cxnSpMk id="16" creationId="{23AAC9B5-8015-485C-ACF9-A750390E9A56}"/>
          </ac:cxnSpMkLst>
        </pc:cxnChg>
      </pc:sldChg>
      <pc:sldChg chg="modSp">
        <pc:chgData name="Eileen Fleming Suse" userId="S::efs3844@ads.northwestern.edu::725c94ef-d051-42d7-9d33-8572765d592b" providerId="AD" clId="Web-{D053432C-5284-0617-FAB1-59D94F6E44F4}" dt="2024-01-10T00:41:11.490" v="1688"/>
        <pc:sldMkLst>
          <pc:docMk/>
          <pc:sldMk cId="4002180916" sldId="774"/>
        </pc:sldMkLst>
        <pc:spChg chg="mod">
          <ac:chgData name="Eileen Fleming Suse" userId="S::efs3844@ads.northwestern.edu::725c94ef-d051-42d7-9d33-8572765d592b" providerId="AD" clId="Web-{D053432C-5284-0617-FAB1-59D94F6E44F4}" dt="2024-01-10T00:41:11.490" v="1688"/>
          <ac:spMkLst>
            <pc:docMk/>
            <pc:sldMk cId="4002180916" sldId="774"/>
            <ac:spMk id="2" creationId="{BDB8D32D-C30E-7FF2-DD56-D84E932FAD70}"/>
          </ac:spMkLst>
        </pc:spChg>
      </pc:sldChg>
      <pc:sldChg chg="modSp">
        <pc:chgData name="Eileen Fleming Suse" userId="S::efs3844@ads.northwestern.edu::725c94ef-d051-42d7-9d33-8572765d592b" providerId="AD" clId="Web-{D053432C-5284-0617-FAB1-59D94F6E44F4}" dt="2024-01-08T21:16:38.127" v="106"/>
        <pc:sldMkLst>
          <pc:docMk/>
          <pc:sldMk cId="2951495738" sldId="775"/>
        </pc:sldMkLst>
        <pc:spChg chg="mod">
          <ac:chgData name="Eileen Fleming Suse" userId="S::efs3844@ads.northwestern.edu::725c94ef-d051-42d7-9d33-8572765d592b" providerId="AD" clId="Web-{D053432C-5284-0617-FAB1-59D94F6E44F4}" dt="2024-01-08T21:16:38.127" v="106"/>
          <ac:spMkLst>
            <pc:docMk/>
            <pc:sldMk cId="2951495738" sldId="775"/>
            <ac:spMk id="2" creationId="{9994FDD0-5D29-B485-6260-E82CA22C06C9}"/>
          </ac:spMkLst>
        </pc:spChg>
        <pc:spChg chg="mod">
          <ac:chgData name="Eileen Fleming Suse" userId="S::efs3844@ads.northwestern.edu::725c94ef-d051-42d7-9d33-8572765d592b" providerId="AD" clId="Web-{D053432C-5284-0617-FAB1-59D94F6E44F4}" dt="2024-01-08T21:16:33.862" v="105" actId="20577"/>
          <ac:spMkLst>
            <pc:docMk/>
            <pc:sldMk cId="2951495738" sldId="775"/>
            <ac:spMk id="8" creationId="{9953D7F1-17BD-728F-97C1-5B32C8D16034}"/>
          </ac:spMkLst>
        </pc:spChg>
      </pc:sldChg>
      <pc:sldChg chg="modSp">
        <pc:chgData name="Eileen Fleming Suse" userId="S::efs3844@ads.northwestern.edu::725c94ef-d051-42d7-9d33-8572765d592b" providerId="AD" clId="Web-{D053432C-5284-0617-FAB1-59D94F6E44F4}" dt="2024-01-11T14:41:39.348" v="1729"/>
        <pc:sldMkLst>
          <pc:docMk/>
          <pc:sldMk cId="2163654907" sldId="776"/>
        </pc:sldMkLst>
        <pc:spChg chg="mod">
          <ac:chgData name="Eileen Fleming Suse" userId="S::efs3844@ads.northwestern.edu::725c94ef-d051-42d7-9d33-8572765d592b" providerId="AD" clId="Web-{D053432C-5284-0617-FAB1-59D94F6E44F4}" dt="2024-01-11T14:41:39.348" v="1729"/>
          <ac:spMkLst>
            <pc:docMk/>
            <pc:sldMk cId="2163654907" sldId="776"/>
            <ac:spMk id="2" creationId="{CEB2BAFB-F3C3-2627-32FD-743D2B7B87DC}"/>
          </ac:spMkLst>
        </pc:spChg>
        <pc:spChg chg="mod">
          <ac:chgData name="Eileen Fleming Suse" userId="S::efs3844@ads.northwestern.edu::725c94ef-d051-42d7-9d33-8572765d592b" providerId="AD" clId="Web-{D053432C-5284-0617-FAB1-59D94F6E44F4}" dt="2024-01-11T14:41:35.066" v="1728" actId="1076"/>
          <ac:spMkLst>
            <pc:docMk/>
            <pc:sldMk cId="2163654907" sldId="776"/>
            <ac:spMk id="8" creationId="{ED1BE979-C18D-624E-E463-2C8C3A396A0B}"/>
          </ac:spMkLst>
        </pc:spChg>
      </pc:sldChg>
      <pc:sldChg chg="modSp">
        <pc:chgData name="Eileen Fleming Suse" userId="S::efs3844@ads.northwestern.edu::725c94ef-d051-42d7-9d33-8572765d592b" providerId="AD" clId="Web-{D053432C-5284-0617-FAB1-59D94F6E44F4}" dt="2024-01-10T00:41:24.022" v="1689"/>
        <pc:sldMkLst>
          <pc:docMk/>
          <pc:sldMk cId="329698235" sldId="777"/>
        </pc:sldMkLst>
        <pc:spChg chg="mod">
          <ac:chgData name="Eileen Fleming Suse" userId="S::efs3844@ads.northwestern.edu::725c94ef-d051-42d7-9d33-8572765d592b" providerId="AD" clId="Web-{D053432C-5284-0617-FAB1-59D94F6E44F4}" dt="2024-01-10T00:41:24.022" v="1689"/>
          <ac:spMkLst>
            <pc:docMk/>
            <pc:sldMk cId="329698235" sldId="777"/>
            <ac:spMk id="2" creationId="{14A91DB6-3A6E-3891-1B41-0FB70B5B2E42}"/>
          </ac:spMkLst>
        </pc:spChg>
      </pc:sldChg>
      <pc:sldChg chg="modSp ord">
        <pc:chgData name="Eileen Fleming Suse" userId="S::efs3844@ads.northwestern.edu::725c94ef-d051-42d7-9d33-8572765d592b" providerId="AD" clId="Web-{D053432C-5284-0617-FAB1-59D94F6E44F4}" dt="2024-01-11T22:26:37.599" v="1804"/>
        <pc:sldMkLst>
          <pc:docMk/>
          <pc:sldMk cId="651048136" sldId="778"/>
        </pc:sldMkLst>
        <pc:spChg chg="mod">
          <ac:chgData name="Eileen Fleming Suse" userId="S::efs3844@ads.northwestern.edu::725c94ef-d051-42d7-9d33-8572765d592b" providerId="AD" clId="Web-{D053432C-5284-0617-FAB1-59D94F6E44F4}" dt="2024-01-08T21:17:26.003" v="115"/>
          <ac:spMkLst>
            <pc:docMk/>
            <pc:sldMk cId="651048136" sldId="778"/>
            <ac:spMk id="2" creationId="{1EAF87EB-824D-4AAD-1959-46B53FBC0AD7}"/>
          </ac:spMkLst>
        </pc:spChg>
      </pc:sldChg>
      <pc:sldChg chg="addSp modSp">
        <pc:chgData name="Eileen Fleming Suse" userId="S::efs3844@ads.northwestern.edu::725c94ef-d051-42d7-9d33-8572765d592b" providerId="AD" clId="Web-{D053432C-5284-0617-FAB1-59D94F6E44F4}" dt="2024-01-08T21:38:54.286" v="371" actId="1076"/>
        <pc:sldMkLst>
          <pc:docMk/>
          <pc:sldMk cId="3952621467" sldId="779"/>
        </pc:sldMkLst>
        <pc:spChg chg="mod">
          <ac:chgData name="Eileen Fleming Suse" userId="S::efs3844@ads.northwestern.edu::725c94ef-d051-42d7-9d33-8572765d592b" providerId="AD" clId="Web-{D053432C-5284-0617-FAB1-59D94F6E44F4}" dt="2024-01-08T21:37:35.956" v="330" actId="1076"/>
          <ac:spMkLst>
            <pc:docMk/>
            <pc:sldMk cId="3952621467" sldId="779"/>
            <ac:spMk id="3" creationId="{3D116CC5-783C-05ED-E59D-C20917A3F977}"/>
          </ac:spMkLst>
        </pc:spChg>
        <pc:spChg chg="mod">
          <ac:chgData name="Eileen Fleming Suse" userId="S::efs3844@ads.northwestern.edu::725c94ef-d051-42d7-9d33-8572765d592b" providerId="AD" clId="Web-{D053432C-5284-0617-FAB1-59D94F6E44F4}" dt="2024-01-08T21:37:41.893" v="331" actId="1076"/>
          <ac:spMkLst>
            <pc:docMk/>
            <pc:sldMk cId="3952621467" sldId="779"/>
            <ac:spMk id="6" creationId="{624E5E16-C2C8-3E70-D60F-7779039D5D3F}"/>
          </ac:spMkLst>
        </pc:spChg>
        <pc:spChg chg="add mod">
          <ac:chgData name="Eileen Fleming Suse" userId="S::efs3844@ads.northwestern.edu::725c94ef-d051-42d7-9d33-8572765d592b" providerId="AD" clId="Web-{D053432C-5284-0617-FAB1-59D94F6E44F4}" dt="2024-01-08T21:38:54.286" v="371" actId="1076"/>
          <ac:spMkLst>
            <pc:docMk/>
            <pc:sldMk cId="3952621467" sldId="779"/>
            <ac:spMk id="7" creationId="{5BDCD7E9-0895-8935-4DB8-19819607476B}"/>
          </ac:spMkLst>
        </pc:spChg>
        <pc:spChg chg="mod">
          <ac:chgData name="Eileen Fleming Suse" userId="S::efs3844@ads.northwestern.edu::725c94ef-d051-42d7-9d33-8572765d592b" providerId="AD" clId="Web-{D053432C-5284-0617-FAB1-59D94F6E44F4}" dt="2024-01-08T21:37:45.612" v="332" actId="1076"/>
          <ac:spMkLst>
            <pc:docMk/>
            <pc:sldMk cId="3952621467" sldId="779"/>
            <ac:spMk id="8" creationId="{1AC53495-722C-9B2E-6443-ACD63887CC51}"/>
          </ac:spMkLst>
        </pc:spChg>
        <pc:spChg chg="mod">
          <ac:chgData name="Eileen Fleming Suse" userId="S::efs3844@ads.northwestern.edu::725c94ef-d051-42d7-9d33-8572765d592b" providerId="AD" clId="Web-{D053432C-5284-0617-FAB1-59D94F6E44F4}" dt="2024-01-08T21:37:50.081" v="333" actId="1076"/>
          <ac:spMkLst>
            <pc:docMk/>
            <pc:sldMk cId="3952621467" sldId="779"/>
            <ac:spMk id="9" creationId="{81BF1FA0-2540-FD9B-D2A5-56A7EF7EEB4D}"/>
          </ac:spMkLst>
        </pc:spChg>
      </pc:sldChg>
      <pc:sldChg chg="modNotes">
        <pc:chgData name="Eileen Fleming Suse" userId="S::efs3844@ads.northwestern.edu::725c94ef-d051-42d7-9d33-8572765d592b" providerId="AD" clId="Web-{D053432C-5284-0617-FAB1-59D94F6E44F4}" dt="2024-01-09T19:31:48.448" v="858"/>
        <pc:sldMkLst>
          <pc:docMk/>
          <pc:sldMk cId="1760752827" sldId="781"/>
        </pc:sldMkLst>
      </pc:sldChg>
      <pc:sldChg chg="modSp modNotes">
        <pc:chgData name="Eileen Fleming Suse" userId="S::efs3844@ads.northwestern.edu::725c94ef-d051-42d7-9d33-8572765d592b" providerId="AD" clId="Web-{D053432C-5284-0617-FAB1-59D94F6E44F4}" dt="2024-01-11T17:03:50.944" v="1800" actId="1076"/>
        <pc:sldMkLst>
          <pc:docMk/>
          <pc:sldMk cId="1996400893" sldId="782"/>
        </pc:sldMkLst>
        <pc:spChg chg="mod">
          <ac:chgData name="Eileen Fleming Suse" userId="S::efs3844@ads.northwestern.edu::725c94ef-d051-42d7-9d33-8572765d592b" providerId="AD" clId="Web-{D053432C-5284-0617-FAB1-59D94F6E44F4}" dt="2024-01-11T17:03:42.585" v="1796"/>
          <ac:spMkLst>
            <pc:docMk/>
            <pc:sldMk cId="1996400893" sldId="782"/>
            <ac:spMk id="2" creationId="{5FE65BC2-3E0A-5267-2728-E75C5322EA1E}"/>
          </ac:spMkLst>
        </pc:spChg>
        <pc:graphicFrameChg chg="mod modGraphic">
          <ac:chgData name="Eileen Fleming Suse" userId="S::efs3844@ads.northwestern.edu::725c94ef-d051-42d7-9d33-8572765d592b" providerId="AD" clId="Web-{D053432C-5284-0617-FAB1-59D94F6E44F4}" dt="2024-01-11T17:03:50.944" v="1800" actId="1076"/>
          <ac:graphicFrameMkLst>
            <pc:docMk/>
            <pc:sldMk cId="1996400893" sldId="782"/>
            <ac:graphicFrameMk id="8" creationId="{7983D868-A342-276F-1CAA-03CC6C829F2D}"/>
          </ac:graphicFrameMkLst>
        </pc:graphicFrameChg>
      </pc:sldChg>
      <pc:sldChg chg="modSp">
        <pc:chgData name="Eileen Fleming Suse" userId="S::efs3844@ads.northwestern.edu::725c94ef-d051-42d7-9d33-8572765d592b" providerId="AD" clId="Web-{D053432C-5284-0617-FAB1-59D94F6E44F4}" dt="2024-01-08T21:00:53.151" v="9" actId="20577"/>
        <pc:sldMkLst>
          <pc:docMk/>
          <pc:sldMk cId="3842601195" sldId="783"/>
        </pc:sldMkLst>
        <pc:spChg chg="mod">
          <ac:chgData name="Eileen Fleming Suse" userId="S::efs3844@ads.northwestern.edu::725c94ef-d051-42d7-9d33-8572765d592b" providerId="AD" clId="Web-{D053432C-5284-0617-FAB1-59D94F6E44F4}" dt="2024-01-08T21:00:53.151" v="9" actId="20577"/>
          <ac:spMkLst>
            <pc:docMk/>
            <pc:sldMk cId="3842601195" sldId="783"/>
            <ac:spMk id="3" creationId="{AF23E682-DF1B-CD72-993B-F85306E73D4C}"/>
          </ac:spMkLst>
        </pc:spChg>
      </pc:sldChg>
      <pc:sldChg chg="modSp new del">
        <pc:chgData name="Eileen Fleming Suse" userId="S::efs3844@ads.northwestern.edu::725c94ef-d051-42d7-9d33-8572765d592b" providerId="AD" clId="Web-{D053432C-5284-0617-FAB1-59D94F6E44F4}" dt="2024-01-10T00:41:04.365" v="1687"/>
        <pc:sldMkLst>
          <pc:docMk/>
          <pc:sldMk cId="421570503" sldId="784"/>
        </pc:sldMkLst>
        <pc:spChg chg="mod">
          <ac:chgData name="Eileen Fleming Suse" userId="S::efs3844@ads.northwestern.edu::725c94ef-d051-42d7-9d33-8572765d592b" providerId="AD" clId="Web-{D053432C-5284-0617-FAB1-59D94F6E44F4}" dt="2024-01-08T21:17:36.894" v="116"/>
          <ac:spMkLst>
            <pc:docMk/>
            <pc:sldMk cId="421570503" sldId="784"/>
            <ac:spMk id="2" creationId="{4A2BFF23-A4A3-3C8C-FA4D-4CD20E2B97EF}"/>
          </ac:spMkLst>
        </pc:spChg>
      </pc:sldChg>
      <pc:sldChg chg="modSp new">
        <pc:chgData name="Eileen Fleming Suse" userId="S::efs3844@ads.northwestern.edu::725c94ef-d051-42d7-9d33-8572765d592b" providerId="AD" clId="Web-{D053432C-5284-0617-FAB1-59D94F6E44F4}" dt="2024-01-11T22:27:28.147" v="1812" actId="20577"/>
        <pc:sldMkLst>
          <pc:docMk/>
          <pc:sldMk cId="1383153618" sldId="785"/>
        </pc:sldMkLst>
        <pc:spChg chg="mod">
          <ac:chgData name="Eileen Fleming Suse" userId="S::efs3844@ads.northwestern.edu::725c94ef-d051-42d7-9d33-8572765d592b" providerId="AD" clId="Web-{D053432C-5284-0617-FAB1-59D94F6E44F4}" dt="2024-01-08T21:30:55.117" v="156" actId="20577"/>
          <ac:spMkLst>
            <pc:docMk/>
            <pc:sldMk cId="1383153618" sldId="785"/>
            <ac:spMk id="2" creationId="{1ADE3F33-C3B5-E055-DCEE-2F9C85028D71}"/>
          </ac:spMkLst>
        </pc:spChg>
        <pc:spChg chg="mod">
          <ac:chgData name="Eileen Fleming Suse" userId="S::efs3844@ads.northwestern.edu::725c94ef-d051-42d7-9d33-8572765d592b" providerId="AD" clId="Web-{D053432C-5284-0617-FAB1-59D94F6E44F4}" dt="2024-01-11T22:27:28.147" v="1812" actId="20577"/>
          <ac:spMkLst>
            <pc:docMk/>
            <pc:sldMk cId="1383153618" sldId="785"/>
            <ac:spMk id="3" creationId="{A8FB859F-8E0E-956F-2CC7-6B79360725AD}"/>
          </ac:spMkLst>
        </pc:spChg>
      </pc:sldChg>
      <pc:sldChg chg="addSp delSp modSp new">
        <pc:chgData name="Eileen Fleming Suse" userId="S::efs3844@ads.northwestern.edu::725c94ef-d051-42d7-9d33-8572765d592b" providerId="AD" clId="Web-{D053432C-5284-0617-FAB1-59D94F6E44F4}" dt="2024-01-08T21:43:33.933" v="483" actId="1076"/>
        <pc:sldMkLst>
          <pc:docMk/>
          <pc:sldMk cId="4076439790" sldId="786"/>
        </pc:sldMkLst>
        <pc:spChg chg="mod">
          <ac:chgData name="Eileen Fleming Suse" userId="S::efs3844@ads.northwestern.edu::725c94ef-d051-42d7-9d33-8572765d592b" providerId="AD" clId="Web-{D053432C-5284-0617-FAB1-59D94F6E44F4}" dt="2024-01-08T21:39:59.803" v="389" actId="20577"/>
          <ac:spMkLst>
            <pc:docMk/>
            <pc:sldMk cId="4076439790" sldId="786"/>
            <ac:spMk id="2" creationId="{27D04BC4-FDCE-7B1B-D288-192FF0AC17CF}"/>
          </ac:spMkLst>
        </pc:spChg>
        <pc:spChg chg="del">
          <ac:chgData name="Eileen Fleming Suse" userId="S::efs3844@ads.northwestern.edu::725c94ef-d051-42d7-9d33-8572765d592b" providerId="AD" clId="Web-{D053432C-5284-0617-FAB1-59D94F6E44F4}" dt="2024-01-08T21:40:00.365" v="390"/>
          <ac:spMkLst>
            <pc:docMk/>
            <pc:sldMk cId="4076439790" sldId="786"/>
            <ac:spMk id="3" creationId="{628DB9E9-EE5E-9796-0E33-6B0EF5DAB193}"/>
          </ac:spMkLst>
        </pc:spChg>
        <pc:spChg chg="add mod">
          <ac:chgData name="Eileen Fleming Suse" userId="S::efs3844@ads.northwestern.edu::725c94ef-d051-42d7-9d33-8572765d592b" providerId="AD" clId="Web-{D053432C-5284-0617-FAB1-59D94F6E44F4}" dt="2024-01-08T21:43:33.933" v="483" actId="1076"/>
          <ac:spMkLst>
            <pc:docMk/>
            <pc:sldMk cId="4076439790" sldId="786"/>
            <ac:spMk id="7" creationId="{85AF476D-E255-AA0F-4E41-D18CBB455173}"/>
          </ac:spMkLst>
        </pc:spChg>
        <pc:spChg chg="add mod">
          <ac:chgData name="Eileen Fleming Suse" userId="S::efs3844@ads.northwestern.edu::725c94ef-d051-42d7-9d33-8572765d592b" providerId="AD" clId="Web-{D053432C-5284-0617-FAB1-59D94F6E44F4}" dt="2024-01-08T21:43:26.792" v="479" actId="1076"/>
          <ac:spMkLst>
            <pc:docMk/>
            <pc:sldMk cId="4076439790" sldId="786"/>
            <ac:spMk id="9" creationId="{B2EF1FE1-43ED-D200-5EAE-E15B334B31A6}"/>
          </ac:spMkLst>
        </pc:spChg>
        <pc:spChg chg="add del">
          <ac:chgData name="Eileen Fleming Suse" userId="S::efs3844@ads.northwestern.edu::725c94ef-d051-42d7-9d33-8572765d592b" providerId="AD" clId="Web-{D053432C-5284-0617-FAB1-59D94F6E44F4}" dt="2024-01-08T21:40:34.741" v="401"/>
          <ac:spMkLst>
            <pc:docMk/>
            <pc:sldMk cId="4076439790" sldId="786"/>
            <ac:spMk id="10" creationId="{6E913D13-5E35-F534-FBB4-0BDA57BDDACE}"/>
          </ac:spMkLst>
        </pc:spChg>
        <pc:spChg chg="add mod">
          <ac:chgData name="Eileen Fleming Suse" userId="S::efs3844@ads.northwestern.edu::725c94ef-d051-42d7-9d33-8572765d592b" providerId="AD" clId="Web-{D053432C-5284-0617-FAB1-59D94F6E44F4}" dt="2024-01-08T21:43:26.808" v="480" actId="1076"/>
          <ac:spMkLst>
            <pc:docMk/>
            <pc:sldMk cId="4076439790" sldId="786"/>
            <ac:spMk id="11" creationId="{E35200C2-C3FD-E192-EF27-715A1699F06A}"/>
          </ac:spMkLst>
        </pc:spChg>
        <pc:spChg chg="add mod">
          <ac:chgData name="Eileen Fleming Suse" userId="S::efs3844@ads.northwestern.edu::725c94ef-d051-42d7-9d33-8572765d592b" providerId="AD" clId="Web-{D053432C-5284-0617-FAB1-59D94F6E44F4}" dt="2024-01-08T21:43:26.808" v="481" actId="1076"/>
          <ac:spMkLst>
            <pc:docMk/>
            <pc:sldMk cId="4076439790" sldId="786"/>
            <ac:spMk id="12" creationId="{E29A0596-DC3E-2E1C-06B6-3ACCB81E7E9B}"/>
          </ac:spMkLst>
        </pc:spChg>
        <pc:spChg chg="add mod">
          <ac:chgData name="Eileen Fleming Suse" userId="S::efs3844@ads.northwestern.edu::725c94ef-d051-42d7-9d33-8572765d592b" providerId="AD" clId="Web-{D053432C-5284-0617-FAB1-59D94F6E44F4}" dt="2024-01-08T21:43:29.918" v="482" actId="1076"/>
          <ac:spMkLst>
            <pc:docMk/>
            <pc:sldMk cId="4076439790" sldId="786"/>
            <ac:spMk id="13" creationId="{0BFA4BC0-5C13-5D86-D1F4-CB891EB2DA6A}"/>
          </ac:spMkLst>
        </pc:spChg>
        <pc:picChg chg="add mod ord">
          <ac:chgData name="Eileen Fleming Suse" userId="S::efs3844@ads.northwestern.edu::725c94ef-d051-42d7-9d33-8572765d592b" providerId="AD" clId="Web-{D053432C-5284-0617-FAB1-59D94F6E44F4}" dt="2024-01-08T21:43:26.792" v="478" actId="1076"/>
          <ac:picMkLst>
            <pc:docMk/>
            <pc:sldMk cId="4076439790" sldId="786"/>
            <ac:picMk id="8" creationId="{E7DFC1F9-C5E5-8106-F025-DB03C289CA7C}"/>
          </ac:picMkLst>
        </pc:picChg>
      </pc:sldChg>
      <pc:sldChg chg="modSp new">
        <pc:chgData name="Eileen Fleming Suse" userId="S::efs3844@ads.northwestern.edu::725c94ef-d051-42d7-9d33-8572765d592b" providerId="AD" clId="Web-{D053432C-5284-0617-FAB1-59D94F6E44F4}" dt="2024-01-11T22:27:54.210" v="1839" actId="20577"/>
        <pc:sldMkLst>
          <pc:docMk/>
          <pc:sldMk cId="4251414166" sldId="787"/>
        </pc:sldMkLst>
        <pc:spChg chg="mod">
          <ac:chgData name="Eileen Fleming Suse" userId="S::efs3844@ads.northwestern.edu::725c94ef-d051-42d7-9d33-8572765d592b" providerId="AD" clId="Web-{D053432C-5284-0617-FAB1-59D94F6E44F4}" dt="2024-01-11T17:02:35.645" v="1752" actId="20577"/>
          <ac:spMkLst>
            <pc:docMk/>
            <pc:sldMk cId="4251414166" sldId="787"/>
            <ac:spMk id="2" creationId="{A66873EC-1DD6-BB4A-FC55-6BA73A7F9CE0}"/>
          </ac:spMkLst>
        </pc:spChg>
        <pc:spChg chg="mod">
          <ac:chgData name="Eileen Fleming Suse" userId="S::efs3844@ads.northwestern.edu::725c94ef-d051-42d7-9d33-8572765d592b" providerId="AD" clId="Web-{D053432C-5284-0617-FAB1-59D94F6E44F4}" dt="2024-01-11T22:27:54.210" v="1839" actId="20577"/>
          <ac:spMkLst>
            <pc:docMk/>
            <pc:sldMk cId="4251414166" sldId="787"/>
            <ac:spMk id="3" creationId="{C897915C-45D7-A970-FA8A-CAFB0C121186}"/>
          </ac:spMkLst>
        </pc:spChg>
      </pc:sldChg>
      <pc:sldChg chg="add">
        <pc:chgData name="Eileen Fleming Suse" userId="S::efs3844@ads.northwestern.edu::725c94ef-d051-42d7-9d33-8572765d592b" providerId="AD" clId="Web-{D053432C-5284-0617-FAB1-59D94F6E44F4}" dt="2024-01-11T17:56:26.333" v="1803"/>
        <pc:sldMkLst>
          <pc:docMk/>
          <pc:sldMk cId="1192176824" sldId="804"/>
        </pc:sldMkLst>
      </pc:sldChg>
    </pc:docChg>
  </pc:docChgLst>
  <pc:docChgLst>
    <pc:chgData name="Alana Rivera" userId="S::arg3669@ads.northwestern.edu::fc8b707a-b7e9-4f2a-8d71-2d76819b7881" providerId="AD" clId="Web-{8E54177A-FEA1-170D-0EA8-ABD6FF4ACD90}"/>
    <pc:docChg chg="addSld modSld modMainMaster">
      <pc:chgData name="Alana Rivera" userId="S::arg3669@ads.northwestern.edu::fc8b707a-b7e9-4f2a-8d71-2d76819b7881" providerId="AD" clId="Web-{8E54177A-FEA1-170D-0EA8-ABD6FF4ACD90}" dt="2023-10-30T19:44:29.502" v="28" actId="1076"/>
      <pc:docMkLst>
        <pc:docMk/>
      </pc:docMkLst>
      <pc:sldChg chg="addCm">
        <pc:chgData name="Alana Rivera" userId="S::arg3669@ads.northwestern.edu::fc8b707a-b7e9-4f2a-8d71-2d76819b7881" providerId="AD" clId="Web-{8E54177A-FEA1-170D-0EA8-ABD6FF4ACD90}" dt="2023-10-30T19:07:35.597" v="0"/>
        <pc:sldMkLst>
          <pc:docMk/>
          <pc:sldMk cId="3127921386" sldId="280"/>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8E54177A-FEA1-170D-0EA8-ABD6FF4ACD90}" dt="2023-10-30T19:07:35.597" v="0"/>
              <pc2:cmMkLst xmlns:pc2="http://schemas.microsoft.com/office/powerpoint/2019/9/main/command">
                <pc:docMk/>
                <pc:sldMk cId="3127921386" sldId="280"/>
                <pc2:cmMk id="{78C9B980-2656-432B-BA11-07ACE79B211F}"/>
              </pc2:cmMkLst>
            </pc226:cmChg>
          </p:ext>
        </pc:extLst>
      </pc:sldChg>
      <pc:sldChg chg="addSp modSp">
        <pc:chgData name="Alana Rivera" userId="S::arg3669@ads.northwestern.edu::fc8b707a-b7e9-4f2a-8d71-2d76819b7881" providerId="AD" clId="Web-{8E54177A-FEA1-170D-0EA8-ABD6FF4ACD90}" dt="2023-10-30T19:42:37.202" v="17" actId="20577"/>
        <pc:sldMkLst>
          <pc:docMk/>
          <pc:sldMk cId="3419957415" sldId="577"/>
        </pc:sldMkLst>
        <pc:spChg chg="add mod">
          <ac:chgData name="Alana Rivera" userId="S::arg3669@ads.northwestern.edu::fc8b707a-b7e9-4f2a-8d71-2d76819b7881" providerId="AD" clId="Web-{8E54177A-FEA1-170D-0EA8-ABD6FF4ACD90}" dt="2023-10-30T19:42:37.202" v="17" actId="20577"/>
          <ac:spMkLst>
            <pc:docMk/>
            <pc:sldMk cId="3419957415" sldId="577"/>
            <ac:spMk id="64" creationId="{CE06DA76-2516-7530-74D6-38D1B1FC6BFE}"/>
          </ac:spMkLst>
        </pc:spChg>
      </pc:sldChg>
      <pc:sldChg chg="addSp modSp">
        <pc:chgData name="Alana Rivera" userId="S::arg3669@ads.northwestern.edu::fc8b707a-b7e9-4f2a-8d71-2d76819b7881" providerId="AD" clId="Web-{8E54177A-FEA1-170D-0EA8-ABD6FF4ACD90}" dt="2023-10-30T19:44:29.502" v="28" actId="1076"/>
        <pc:sldMkLst>
          <pc:docMk/>
          <pc:sldMk cId="785115983" sldId="578"/>
        </pc:sldMkLst>
        <pc:spChg chg="add mod">
          <ac:chgData name="Alana Rivera" userId="S::arg3669@ads.northwestern.edu::fc8b707a-b7e9-4f2a-8d71-2d76819b7881" providerId="AD" clId="Web-{8E54177A-FEA1-170D-0EA8-ABD6FF4ACD90}" dt="2023-10-30T19:44:29.502" v="28" actId="1076"/>
          <ac:spMkLst>
            <pc:docMk/>
            <pc:sldMk cId="785115983" sldId="578"/>
            <ac:spMk id="54" creationId="{3719DC3C-330E-96DC-F3E0-D6B8EE5E5A3C}"/>
          </ac:spMkLst>
        </pc:spChg>
      </pc:sldChg>
      <pc:sldChg chg="addSp modSp">
        <pc:chgData name="Alana Rivera" userId="S::arg3669@ads.northwestern.edu::fc8b707a-b7e9-4f2a-8d71-2d76819b7881" providerId="AD" clId="Web-{8E54177A-FEA1-170D-0EA8-ABD6FF4ACD90}" dt="2023-10-30T19:44:18.002" v="26" actId="1076"/>
        <pc:sldMkLst>
          <pc:docMk/>
          <pc:sldMk cId="3030449316" sldId="579"/>
        </pc:sldMkLst>
        <pc:spChg chg="add mod">
          <ac:chgData name="Alana Rivera" userId="S::arg3669@ads.northwestern.edu::fc8b707a-b7e9-4f2a-8d71-2d76819b7881" providerId="AD" clId="Web-{8E54177A-FEA1-170D-0EA8-ABD6FF4ACD90}" dt="2023-10-30T19:44:18.002" v="26" actId="1076"/>
          <ac:spMkLst>
            <pc:docMk/>
            <pc:sldMk cId="3030449316" sldId="579"/>
            <ac:spMk id="56" creationId="{AB0F7BDF-C613-8BB0-BFCB-8F26B40EC06E}"/>
          </ac:spMkLst>
        </pc:spChg>
      </pc:sldChg>
      <pc:sldChg chg="addSp modSp">
        <pc:chgData name="Alana Rivera" userId="S::arg3669@ads.northwestern.edu::fc8b707a-b7e9-4f2a-8d71-2d76819b7881" providerId="AD" clId="Web-{8E54177A-FEA1-170D-0EA8-ABD6FF4ACD90}" dt="2023-10-30T19:44:05.314" v="24" actId="1076"/>
        <pc:sldMkLst>
          <pc:docMk/>
          <pc:sldMk cId="4283907660" sldId="580"/>
        </pc:sldMkLst>
        <pc:spChg chg="add mod">
          <ac:chgData name="Alana Rivera" userId="S::arg3669@ads.northwestern.edu::fc8b707a-b7e9-4f2a-8d71-2d76819b7881" providerId="AD" clId="Web-{8E54177A-FEA1-170D-0EA8-ABD6FF4ACD90}" dt="2023-10-30T19:44:05.314" v="24" actId="1076"/>
          <ac:spMkLst>
            <pc:docMk/>
            <pc:sldMk cId="4283907660" sldId="580"/>
            <ac:spMk id="71" creationId="{755536B4-F5C2-3697-61E6-0681DE0C12BD}"/>
          </ac:spMkLst>
        </pc:spChg>
      </pc:sldChg>
      <pc:sldChg chg="addSp modSp">
        <pc:chgData name="Alana Rivera" userId="S::arg3669@ads.northwestern.edu::fc8b707a-b7e9-4f2a-8d71-2d76819b7881" providerId="AD" clId="Web-{8E54177A-FEA1-170D-0EA8-ABD6FF4ACD90}" dt="2023-10-30T19:42:59.765" v="19" actId="1076"/>
        <pc:sldMkLst>
          <pc:docMk/>
          <pc:sldMk cId="3429940818" sldId="581"/>
        </pc:sldMkLst>
        <pc:spChg chg="add mod">
          <ac:chgData name="Alana Rivera" userId="S::arg3669@ads.northwestern.edu::fc8b707a-b7e9-4f2a-8d71-2d76819b7881" providerId="AD" clId="Web-{8E54177A-FEA1-170D-0EA8-ABD6FF4ACD90}" dt="2023-10-30T19:42:59.765" v="19" actId="1076"/>
          <ac:spMkLst>
            <pc:docMk/>
            <pc:sldMk cId="3429940818" sldId="581"/>
            <ac:spMk id="73" creationId="{1A989E17-799A-6415-ED4B-A44CCA00B657}"/>
          </ac:spMkLst>
        </pc:spChg>
      </pc:sldChg>
      <pc:sldChg chg="add">
        <pc:chgData name="Alana Rivera" userId="S::arg3669@ads.northwestern.edu::fc8b707a-b7e9-4f2a-8d71-2d76819b7881" providerId="AD" clId="Web-{8E54177A-FEA1-170D-0EA8-ABD6FF4ACD90}" dt="2023-10-30T19:11:07.401" v="1"/>
        <pc:sldMkLst>
          <pc:docMk/>
          <pc:sldMk cId="1271905251" sldId="637"/>
        </pc:sldMkLst>
      </pc:sldChg>
      <pc:sldChg chg="add">
        <pc:chgData name="Alana Rivera" userId="S::arg3669@ads.northwestern.edu::fc8b707a-b7e9-4f2a-8d71-2d76819b7881" providerId="AD" clId="Web-{8E54177A-FEA1-170D-0EA8-ABD6FF4ACD90}" dt="2023-10-30T19:11:07.526" v="2"/>
        <pc:sldMkLst>
          <pc:docMk/>
          <pc:sldMk cId="2890705621" sldId="638"/>
        </pc:sldMkLst>
      </pc:sldChg>
      <pc:sldChg chg="add">
        <pc:chgData name="Alana Rivera" userId="S::arg3669@ads.northwestern.edu::fc8b707a-b7e9-4f2a-8d71-2d76819b7881" providerId="AD" clId="Web-{8E54177A-FEA1-170D-0EA8-ABD6FF4ACD90}" dt="2023-10-30T19:11:25.277" v="3"/>
        <pc:sldMkLst>
          <pc:docMk/>
          <pc:sldMk cId="3557549611" sldId="639"/>
        </pc:sldMkLst>
      </pc:sldChg>
      <pc:sldMasterChg chg="addSldLayout">
        <pc:chgData name="Alana Rivera" userId="S::arg3669@ads.northwestern.edu::fc8b707a-b7e9-4f2a-8d71-2d76819b7881" providerId="AD" clId="Web-{8E54177A-FEA1-170D-0EA8-ABD6FF4ACD90}" dt="2023-10-30T19:11:07.401" v="1"/>
        <pc:sldMasterMkLst>
          <pc:docMk/>
          <pc:sldMasterMk cId="3378073280" sldId="2147483756"/>
        </pc:sldMasterMkLst>
        <pc:sldLayoutChg chg="add">
          <pc:chgData name="Alana Rivera" userId="S::arg3669@ads.northwestern.edu::fc8b707a-b7e9-4f2a-8d71-2d76819b7881" providerId="AD" clId="Web-{8E54177A-FEA1-170D-0EA8-ABD6FF4ACD90}" dt="2023-10-30T19:11:07.401" v="1"/>
          <pc:sldLayoutMkLst>
            <pc:docMk/>
            <pc:sldMasterMk cId="3378073280" sldId="2147483756"/>
            <pc:sldLayoutMk cId="2441756453" sldId="2147483680"/>
          </pc:sldLayoutMkLst>
        </pc:sldLayoutChg>
        <pc:sldLayoutChg chg="add">
          <pc:chgData name="Alana Rivera" userId="S::arg3669@ads.northwestern.edu::fc8b707a-b7e9-4f2a-8d71-2d76819b7881" providerId="AD" clId="Web-{8E54177A-FEA1-170D-0EA8-ABD6FF4ACD90}" dt="2023-10-30T19:11:07.401" v="1"/>
          <pc:sldLayoutMkLst>
            <pc:docMk/>
            <pc:sldMasterMk cId="3378073280" sldId="2147483756"/>
            <pc:sldLayoutMk cId="4224424939" sldId="2147483681"/>
          </pc:sldLayoutMkLst>
        </pc:sldLayoutChg>
      </pc:sldMasterChg>
      <pc:sldMasterChg chg="modSldLayout">
        <pc:chgData name="Alana Rivera" userId="S::arg3669@ads.northwestern.edu::fc8b707a-b7e9-4f2a-8d71-2d76819b7881" providerId="AD" clId="Web-{8E54177A-FEA1-170D-0EA8-ABD6FF4ACD90}" dt="2023-10-30T19:11:07.401" v="1"/>
        <pc:sldMasterMkLst>
          <pc:docMk/>
          <pc:sldMasterMk cId="0" sldId="2147484595"/>
        </pc:sldMasterMkLst>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0"/>
          </pc:sldLayoutMkLst>
        </pc:sldLayoutChg>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1"/>
          </pc:sldLayoutMkLst>
        </pc:sldLayoutChg>
      </pc:sldMasterChg>
    </pc:docChg>
  </pc:docChgLst>
  <pc:docChgLst>
    <pc:chgData name="Isabel Rose Gippo" userId="S::irg9370@ads.northwestern.edu::b10bfe7e-55b9-46dd-9add-2eb52cb66d3b" providerId="AD" clId="Web-{DC570ED0-804E-A0E2-5D93-D510896DFB64}"/>
    <pc:docChg chg="addSld modSld">
      <pc:chgData name="Isabel Rose Gippo" userId="S::irg9370@ads.northwestern.edu::b10bfe7e-55b9-46dd-9add-2eb52cb66d3b" providerId="AD" clId="Web-{DC570ED0-804E-A0E2-5D93-D510896DFB64}" dt="2023-10-24T14:25:12.957" v="624"/>
      <pc:docMkLst>
        <pc:docMk/>
      </pc:docMkLst>
      <pc:sldChg chg="addSp delSp modSp add replId">
        <pc:chgData name="Isabel Rose Gippo" userId="S::irg9370@ads.northwestern.edu::b10bfe7e-55b9-46dd-9add-2eb52cb66d3b" providerId="AD" clId="Web-{DC570ED0-804E-A0E2-5D93-D510896DFB64}" dt="2023-10-24T13:50:42.643" v="314" actId="20577"/>
        <pc:sldMkLst>
          <pc:docMk/>
          <pc:sldMk cId="3090389772" sldId="568"/>
        </pc:sldMkLst>
        <pc:spChg chg="del">
          <ac:chgData name="Isabel Rose Gippo" userId="S::irg9370@ads.northwestern.edu::b10bfe7e-55b9-46dd-9add-2eb52cb66d3b" providerId="AD" clId="Web-{DC570ED0-804E-A0E2-5D93-D510896DFB64}" dt="2023-10-24T13:23:11.220" v="1"/>
          <ac:spMkLst>
            <pc:docMk/>
            <pc:sldMk cId="3090389772" sldId="568"/>
            <ac:spMk id="2" creationId="{00000000-0000-0000-0000-000000000000}"/>
          </ac:spMkLst>
        </pc:spChg>
        <pc:spChg chg="del">
          <ac:chgData name="Isabel Rose Gippo" userId="S::irg9370@ads.northwestern.edu::b10bfe7e-55b9-46dd-9add-2eb52cb66d3b" providerId="AD" clId="Web-{DC570ED0-804E-A0E2-5D93-D510896DFB64}" dt="2023-10-24T13:23:17.877" v="2"/>
          <ac:spMkLst>
            <pc:docMk/>
            <pc:sldMk cId="3090389772" sldId="568"/>
            <ac:spMk id="3" creationId="{00000000-0000-0000-0000-000000000000}"/>
          </ac:spMkLst>
        </pc:spChg>
        <pc:spChg chg="add del mod">
          <ac:chgData name="Isabel Rose Gippo" userId="S::irg9370@ads.northwestern.edu::b10bfe7e-55b9-46dd-9add-2eb52cb66d3b" providerId="AD" clId="Web-{DC570ED0-804E-A0E2-5D93-D510896DFB64}" dt="2023-10-24T13:29:49.501" v="23"/>
          <ac:spMkLst>
            <pc:docMk/>
            <pc:sldMk cId="3090389772" sldId="568"/>
            <ac:spMk id="6" creationId="{595990F9-94FA-9087-B8D0-01F767817104}"/>
          </ac:spMkLst>
        </pc:spChg>
        <pc:spChg chg="add del mod">
          <ac:chgData name="Isabel Rose Gippo" userId="S::irg9370@ads.northwestern.edu::b10bfe7e-55b9-46dd-9add-2eb52cb66d3b" providerId="AD" clId="Web-{DC570ED0-804E-A0E2-5D93-D510896DFB64}" dt="2023-10-24T13:32:00.913" v="82"/>
          <ac:spMkLst>
            <pc:docMk/>
            <pc:sldMk cId="3090389772" sldId="568"/>
            <ac:spMk id="8" creationId="{4B95CBD6-6501-8155-A01B-E05B42CCEA51}"/>
          </ac:spMkLst>
        </pc:spChg>
        <pc:spChg chg="add del mod">
          <ac:chgData name="Isabel Rose Gippo" userId="S::irg9370@ads.northwestern.edu::b10bfe7e-55b9-46dd-9add-2eb52cb66d3b" providerId="AD" clId="Web-{DC570ED0-804E-A0E2-5D93-D510896DFB64}" dt="2023-10-24T13:32:07.725" v="84"/>
          <ac:spMkLst>
            <pc:docMk/>
            <pc:sldMk cId="3090389772" sldId="568"/>
            <ac:spMk id="10" creationId="{F8479F00-3CC7-E2BA-FDD4-47B34220F1E9}"/>
          </ac:spMkLst>
        </pc:spChg>
        <pc:spChg chg="add mod">
          <ac:chgData name="Isabel Rose Gippo" userId="S::irg9370@ads.northwestern.edu::b10bfe7e-55b9-46dd-9add-2eb52cb66d3b" providerId="AD" clId="Web-{DC570ED0-804E-A0E2-5D93-D510896DFB64}" dt="2023-10-24T13:41:13.449" v="218" actId="1076"/>
          <ac:spMkLst>
            <pc:docMk/>
            <pc:sldMk cId="3090389772" sldId="568"/>
            <ac:spMk id="11" creationId="{13896302-555C-1A80-C459-6D1ACE663F72}"/>
          </ac:spMkLst>
        </pc:spChg>
        <pc:spChg chg="add mod">
          <ac:chgData name="Isabel Rose Gippo" userId="S::irg9370@ads.northwestern.edu::b10bfe7e-55b9-46dd-9add-2eb52cb66d3b" providerId="AD" clId="Web-{DC570ED0-804E-A0E2-5D93-D510896DFB64}" dt="2023-10-24T13:50:14.611" v="310"/>
          <ac:spMkLst>
            <pc:docMk/>
            <pc:sldMk cId="3090389772" sldId="568"/>
            <ac:spMk id="15" creationId="{CA00A902-9377-5B4A-9651-129D059BB685}"/>
          </ac:spMkLst>
        </pc:spChg>
        <pc:spChg chg="add mod">
          <ac:chgData name="Isabel Rose Gippo" userId="S::irg9370@ads.northwestern.edu::b10bfe7e-55b9-46dd-9add-2eb52cb66d3b" providerId="AD" clId="Web-{DC570ED0-804E-A0E2-5D93-D510896DFB64}" dt="2023-10-24T13:50:23.752" v="311" actId="1076"/>
          <ac:spMkLst>
            <pc:docMk/>
            <pc:sldMk cId="3090389772" sldId="568"/>
            <ac:spMk id="17" creationId="{C4FB321D-7C09-3587-1451-1763097B5C30}"/>
          </ac:spMkLst>
        </pc:spChg>
        <pc:spChg chg="add mod">
          <ac:chgData name="Isabel Rose Gippo" userId="S::irg9370@ads.northwestern.edu::b10bfe7e-55b9-46dd-9add-2eb52cb66d3b" providerId="AD" clId="Web-{DC570ED0-804E-A0E2-5D93-D510896DFB64}" dt="2023-10-24T13:50:42.643" v="314" actId="20577"/>
          <ac:spMkLst>
            <pc:docMk/>
            <pc:sldMk cId="3090389772" sldId="568"/>
            <ac:spMk id="19" creationId="{F49C1F1A-614A-5749-1A3F-78980B65ADBC}"/>
          </ac:spMkLst>
        </pc:spChg>
        <pc:spChg chg="mod">
          <ac:chgData name="Isabel Rose Gippo" userId="S::irg9370@ads.northwestern.edu::b10bfe7e-55b9-46dd-9add-2eb52cb66d3b" providerId="AD" clId="Web-{DC570ED0-804E-A0E2-5D93-D510896DFB64}" dt="2023-10-24T13:43:41.971" v="242" actId="20577"/>
          <ac:spMkLst>
            <pc:docMk/>
            <pc:sldMk cId="3090389772" sldId="568"/>
            <ac:spMk id="16386" creationId="{00000000-0000-0000-0000-000000000000}"/>
          </ac:spMkLst>
        </pc:spChg>
        <pc:spChg chg="del mod">
          <ac:chgData name="Isabel Rose Gippo" userId="S::irg9370@ads.northwestern.edu::b10bfe7e-55b9-46dd-9add-2eb52cb66d3b" providerId="AD" clId="Web-{DC570ED0-804E-A0E2-5D93-D510896DFB64}" dt="2023-10-24T13:29:24.219" v="18"/>
          <ac:spMkLst>
            <pc:docMk/>
            <pc:sldMk cId="3090389772" sldId="568"/>
            <ac:spMk id="16387" creationId="{00000000-0000-0000-0000-000000000000}"/>
          </ac:spMkLst>
        </pc:spChg>
        <pc:picChg chg="add del mod modCrop">
          <ac:chgData name="Isabel Rose Gippo" userId="S::irg9370@ads.northwestern.edu::b10bfe7e-55b9-46dd-9add-2eb52cb66d3b" providerId="AD" clId="Web-{DC570ED0-804E-A0E2-5D93-D510896DFB64}" dt="2023-10-24T13:36:48.470" v="138"/>
          <ac:picMkLst>
            <pc:docMk/>
            <pc:sldMk cId="3090389772" sldId="568"/>
            <ac:picMk id="4" creationId="{7C4A6C95-34AE-C8E6-1DCF-F6079B87A6AC}"/>
          </ac:picMkLst>
        </pc:picChg>
        <pc:picChg chg="add del mod ord">
          <ac:chgData name="Isabel Rose Gippo" userId="S::irg9370@ads.northwestern.edu::b10bfe7e-55b9-46dd-9add-2eb52cb66d3b" providerId="AD" clId="Web-{DC570ED0-804E-A0E2-5D93-D510896DFB64}" dt="2023-10-24T13:37:31.425" v="146"/>
          <ac:picMkLst>
            <pc:docMk/>
            <pc:sldMk cId="3090389772" sldId="568"/>
            <ac:picMk id="12" creationId="{1157BB9A-851C-C255-0310-D42AC336B66F}"/>
          </ac:picMkLst>
        </pc:picChg>
        <pc:picChg chg="add del mod">
          <ac:chgData name="Isabel Rose Gippo" userId="S::irg9370@ads.northwestern.edu::b10bfe7e-55b9-46dd-9add-2eb52cb66d3b" providerId="AD" clId="Web-{DC570ED0-804E-A0E2-5D93-D510896DFB64}" dt="2023-10-24T13:40:56.449" v="211"/>
          <ac:picMkLst>
            <pc:docMk/>
            <pc:sldMk cId="3090389772" sldId="568"/>
            <ac:picMk id="13" creationId="{80A9386E-A3C6-98A2-026F-0D769C360E01}"/>
          </ac:picMkLst>
        </pc:picChg>
        <pc:picChg chg="add mod ord">
          <ac:chgData name="Isabel Rose Gippo" userId="S::irg9370@ads.northwestern.edu::b10bfe7e-55b9-46dd-9add-2eb52cb66d3b" providerId="AD" clId="Web-{DC570ED0-804E-A0E2-5D93-D510896DFB64}" dt="2023-10-24T13:49:48.203" v="305" actId="1076"/>
          <ac:picMkLst>
            <pc:docMk/>
            <pc:sldMk cId="3090389772" sldId="568"/>
            <ac:picMk id="14" creationId="{557B5DD0-CAF3-34F4-E916-20658CE8833E}"/>
          </ac:picMkLst>
        </pc:picChg>
        <pc:picChg chg="add mod">
          <ac:chgData name="Isabel Rose Gippo" userId="S::irg9370@ads.northwestern.edu::b10bfe7e-55b9-46dd-9add-2eb52cb66d3b" providerId="AD" clId="Web-{DC570ED0-804E-A0E2-5D93-D510896DFB64}" dt="2023-10-24T13:41:06.387" v="215" actId="14100"/>
          <ac:picMkLst>
            <pc:docMk/>
            <pc:sldMk cId="3090389772" sldId="568"/>
            <ac:picMk id="16" creationId="{EFDCBE94-658B-EA5C-C848-56FA88C493AB}"/>
          </ac:picMkLst>
        </pc:picChg>
        <pc:picChg chg="add del mod">
          <ac:chgData name="Isabel Rose Gippo" userId="S::irg9370@ads.northwestern.edu::b10bfe7e-55b9-46dd-9add-2eb52cb66d3b" providerId="AD" clId="Web-{DC570ED0-804E-A0E2-5D93-D510896DFB64}" dt="2023-10-24T13:46:05.070" v="270"/>
          <ac:picMkLst>
            <pc:docMk/>
            <pc:sldMk cId="3090389772" sldId="568"/>
            <ac:picMk id="18" creationId="{45BD3714-27F2-FE16-2BFB-D745A0BC2166}"/>
          </ac:picMkLst>
        </pc:picChg>
        <pc:picChg chg="add del mod">
          <ac:chgData name="Isabel Rose Gippo" userId="S::irg9370@ads.northwestern.edu::b10bfe7e-55b9-46dd-9add-2eb52cb66d3b" providerId="AD" clId="Web-{DC570ED0-804E-A0E2-5D93-D510896DFB64}" dt="2023-10-24T13:48:36.576" v="287"/>
          <ac:picMkLst>
            <pc:docMk/>
            <pc:sldMk cId="3090389772" sldId="568"/>
            <ac:picMk id="20" creationId="{323A1FF1-1E09-F17F-231B-8C8A872B941D}"/>
          </ac:picMkLst>
        </pc:picChg>
        <pc:picChg chg="add mod">
          <ac:chgData name="Isabel Rose Gippo" userId="S::irg9370@ads.northwestern.edu::b10bfe7e-55b9-46dd-9add-2eb52cb66d3b" providerId="AD" clId="Web-{DC570ED0-804E-A0E2-5D93-D510896DFB64}" dt="2023-10-24T13:49:32.953" v="303" actId="1076"/>
          <ac:picMkLst>
            <pc:docMk/>
            <pc:sldMk cId="3090389772" sldId="568"/>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3:56:07.781" v="380"/>
        <pc:sldMkLst>
          <pc:docMk/>
          <pc:sldMk cId="1088329954" sldId="569"/>
        </pc:sldMkLst>
        <pc:spChg chg="del mod">
          <ac:chgData name="Isabel Rose Gippo" userId="S::irg9370@ads.northwestern.edu::b10bfe7e-55b9-46dd-9add-2eb52cb66d3b" providerId="AD" clId="Web-{DC570ED0-804E-A0E2-5D93-D510896DFB64}" dt="2023-10-24T13:51:45.942" v="335"/>
          <ac:spMkLst>
            <pc:docMk/>
            <pc:sldMk cId="1088329954" sldId="569"/>
            <ac:spMk id="11" creationId="{13896302-555C-1A80-C459-6D1ACE663F72}"/>
          </ac:spMkLst>
        </pc:spChg>
        <pc:spChg chg="del">
          <ac:chgData name="Isabel Rose Gippo" userId="S::irg9370@ads.northwestern.edu::b10bfe7e-55b9-46dd-9add-2eb52cb66d3b" providerId="AD" clId="Web-{DC570ED0-804E-A0E2-5D93-D510896DFB64}" dt="2023-10-24T13:51:39.333" v="332"/>
          <ac:spMkLst>
            <pc:docMk/>
            <pc:sldMk cId="1088329954" sldId="569"/>
            <ac:spMk id="15" creationId="{CA00A902-9377-5B4A-9651-129D059BB685}"/>
          </ac:spMkLst>
        </pc:spChg>
        <pc:spChg chg="del">
          <ac:chgData name="Isabel Rose Gippo" userId="S::irg9370@ads.northwestern.edu::b10bfe7e-55b9-46dd-9add-2eb52cb66d3b" providerId="AD" clId="Web-{DC570ED0-804E-A0E2-5D93-D510896DFB64}" dt="2023-10-24T13:51:29.442" v="329"/>
          <ac:spMkLst>
            <pc:docMk/>
            <pc:sldMk cId="1088329954" sldId="569"/>
            <ac:spMk id="17" creationId="{C4FB321D-7C09-3587-1451-1763097B5C30}"/>
          </ac:spMkLst>
        </pc:spChg>
        <pc:spChg chg="add del mod">
          <ac:chgData name="Isabel Rose Gippo" userId="S::irg9370@ads.northwestern.edu::b10bfe7e-55b9-46dd-9add-2eb52cb66d3b" providerId="AD" clId="Web-{DC570ED0-804E-A0E2-5D93-D510896DFB64}" dt="2023-10-24T13:55:21.716" v="376" actId="1076"/>
          <ac:spMkLst>
            <pc:docMk/>
            <pc:sldMk cId="1088329954" sldId="569"/>
            <ac:spMk id="19" creationId="{F49C1F1A-614A-5749-1A3F-78980B65ADBC}"/>
          </ac:spMkLst>
        </pc:spChg>
        <pc:spChg chg="mod">
          <ac:chgData name="Isabel Rose Gippo" userId="S::irg9370@ads.northwestern.edu::b10bfe7e-55b9-46dd-9add-2eb52cb66d3b" providerId="AD" clId="Web-{DC570ED0-804E-A0E2-5D93-D510896DFB64}" dt="2023-10-24T13:53:46.478" v="349" actId="20577"/>
          <ac:spMkLst>
            <pc:docMk/>
            <pc:sldMk cId="1088329954" sldId="569"/>
            <ac:spMk id="16386" creationId="{00000000-0000-0000-0000-000000000000}"/>
          </ac:spMkLst>
        </pc:spChg>
        <pc:picChg chg="add mod">
          <ac:chgData name="Isabel Rose Gippo" userId="S::irg9370@ads.northwestern.edu::b10bfe7e-55b9-46dd-9add-2eb52cb66d3b" providerId="AD" clId="Web-{DC570ED0-804E-A0E2-5D93-D510896DFB64}" dt="2023-10-24T13:56:07.781" v="380"/>
          <ac:picMkLst>
            <pc:docMk/>
            <pc:sldMk cId="1088329954" sldId="569"/>
            <ac:picMk id="2" creationId="{7088B35E-417D-2903-C144-75276D9E0FF3}"/>
          </ac:picMkLst>
        </pc:picChg>
        <pc:picChg chg="del">
          <ac:chgData name="Isabel Rose Gippo" userId="S::irg9370@ads.northwestern.edu::b10bfe7e-55b9-46dd-9add-2eb52cb66d3b" providerId="AD" clId="Web-{DC570ED0-804E-A0E2-5D93-D510896DFB64}" dt="2023-10-24T13:51:40.223" v="333"/>
          <ac:picMkLst>
            <pc:docMk/>
            <pc:sldMk cId="1088329954" sldId="569"/>
            <ac:picMk id="14" creationId="{557B5DD0-CAF3-34F4-E916-20658CE8833E}"/>
          </ac:picMkLst>
        </pc:picChg>
        <pc:picChg chg="del">
          <ac:chgData name="Isabel Rose Gippo" userId="S::irg9370@ads.northwestern.edu::b10bfe7e-55b9-46dd-9add-2eb52cb66d3b" providerId="AD" clId="Web-{DC570ED0-804E-A0E2-5D93-D510896DFB64}" dt="2023-10-24T13:51:37.551" v="331"/>
          <ac:picMkLst>
            <pc:docMk/>
            <pc:sldMk cId="1088329954" sldId="569"/>
            <ac:picMk id="16" creationId="{EFDCBE94-658B-EA5C-C848-56FA88C493AB}"/>
          </ac:picMkLst>
        </pc:picChg>
        <pc:picChg chg="del">
          <ac:chgData name="Isabel Rose Gippo" userId="S::irg9370@ads.northwestern.edu::b10bfe7e-55b9-46dd-9add-2eb52cb66d3b" providerId="AD" clId="Web-{DC570ED0-804E-A0E2-5D93-D510896DFB64}" dt="2023-10-24T13:51:27.457" v="328"/>
          <ac:picMkLst>
            <pc:docMk/>
            <pc:sldMk cId="1088329954" sldId="569"/>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4:25:12.957" v="624"/>
        <pc:sldMkLst>
          <pc:docMk/>
          <pc:sldMk cId="2849312483" sldId="570"/>
        </pc:sldMkLst>
        <pc:spChg chg="add mod">
          <ac:chgData name="Isabel Rose Gippo" userId="S::irg9370@ads.northwestern.edu::b10bfe7e-55b9-46dd-9add-2eb52cb66d3b" providerId="AD" clId="Web-{DC570ED0-804E-A0E2-5D93-D510896DFB64}" dt="2023-10-24T14:23:31.594" v="621" actId="1076"/>
          <ac:spMkLst>
            <pc:docMk/>
            <pc:sldMk cId="2849312483" sldId="570"/>
            <ac:spMk id="4" creationId="{EA09FBC4-EFF6-9AB4-25A1-D6ED252CED0D}"/>
          </ac:spMkLst>
        </pc:spChg>
        <pc:spChg chg="add mod">
          <ac:chgData name="Isabel Rose Gippo" userId="S::irg9370@ads.northwestern.edu::b10bfe7e-55b9-46dd-9add-2eb52cb66d3b" providerId="AD" clId="Web-{DC570ED0-804E-A0E2-5D93-D510896DFB64}" dt="2023-10-24T14:08:31.356" v="552" actId="1076"/>
          <ac:spMkLst>
            <pc:docMk/>
            <pc:sldMk cId="2849312483" sldId="570"/>
            <ac:spMk id="5" creationId="{E069BE35-38BF-B866-0B62-A243ACB6F110}"/>
          </ac:spMkLst>
        </pc:spChg>
        <pc:spChg chg="add mod">
          <ac:chgData name="Isabel Rose Gippo" userId="S::irg9370@ads.northwestern.edu::b10bfe7e-55b9-46dd-9add-2eb52cb66d3b" providerId="AD" clId="Web-{DC570ED0-804E-A0E2-5D93-D510896DFB64}" dt="2023-10-24T14:08:28.387" v="551" actId="1076"/>
          <ac:spMkLst>
            <pc:docMk/>
            <pc:sldMk cId="2849312483" sldId="570"/>
            <ac:spMk id="6" creationId="{137890F0-FB58-2F7F-C68D-9B504512854C}"/>
          </ac:spMkLst>
        </pc:spChg>
        <pc:spChg chg="add mod">
          <ac:chgData name="Isabel Rose Gippo" userId="S::irg9370@ads.northwestern.edu::b10bfe7e-55b9-46dd-9add-2eb52cb66d3b" providerId="AD" clId="Web-{DC570ED0-804E-A0E2-5D93-D510896DFB64}" dt="2023-10-24T14:08:47.263" v="558" actId="1076"/>
          <ac:spMkLst>
            <pc:docMk/>
            <pc:sldMk cId="2849312483" sldId="570"/>
            <ac:spMk id="7" creationId="{1F35585C-3549-CE9C-A34A-3452229F6833}"/>
          </ac:spMkLst>
        </pc:spChg>
        <pc:spChg chg="add mod">
          <ac:chgData name="Isabel Rose Gippo" userId="S::irg9370@ads.northwestern.edu::b10bfe7e-55b9-46dd-9add-2eb52cb66d3b" providerId="AD" clId="Web-{DC570ED0-804E-A0E2-5D93-D510896DFB64}" dt="2023-10-24T14:08:53.263" v="560" actId="1076"/>
          <ac:spMkLst>
            <pc:docMk/>
            <pc:sldMk cId="2849312483" sldId="570"/>
            <ac:spMk id="9" creationId="{9BD0DB87-BFB9-248F-9187-16322CEC9C89}"/>
          </ac:spMkLst>
        </pc:spChg>
        <pc:spChg chg="add mod">
          <ac:chgData name="Isabel Rose Gippo" userId="S::irg9370@ads.northwestern.edu::b10bfe7e-55b9-46dd-9add-2eb52cb66d3b" providerId="AD" clId="Web-{DC570ED0-804E-A0E2-5D93-D510896DFB64}" dt="2023-10-24T14:09:06.264" v="565" actId="1076"/>
          <ac:spMkLst>
            <pc:docMk/>
            <pc:sldMk cId="2849312483" sldId="570"/>
            <ac:spMk id="10" creationId="{C8307CA0-040F-CDB1-5F4D-16A04C6E74DF}"/>
          </ac:spMkLst>
        </pc:spChg>
        <pc:spChg chg="del mod">
          <ac:chgData name="Isabel Rose Gippo" userId="S::irg9370@ads.northwestern.edu::b10bfe7e-55b9-46dd-9add-2eb52cb66d3b" providerId="AD" clId="Web-{DC570ED0-804E-A0E2-5D93-D510896DFB64}" dt="2023-10-24T13:58:55.912" v="410"/>
          <ac:spMkLst>
            <pc:docMk/>
            <pc:sldMk cId="2849312483" sldId="570"/>
            <ac:spMk id="19" creationId="{F49C1F1A-614A-5749-1A3F-78980B65ADBC}"/>
          </ac:spMkLst>
        </pc:spChg>
        <pc:spChg chg="mod">
          <ac:chgData name="Isabel Rose Gippo" userId="S::irg9370@ads.northwestern.edu::b10bfe7e-55b9-46dd-9add-2eb52cb66d3b" providerId="AD" clId="Web-{DC570ED0-804E-A0E2-5D93-D510896DFB64}" dt="2023-10-24T13:59:10.163" v="416" actId="14100"/>
          <ac:spMkLst>
            <pc:docMk/>
            <pc:sldMk cId="2849312483" sldId="570"/>
            <ac:spMk id="16386" creationId="{00000000-0000-0000-0000-000000000000}"/>
          </ac:spMkLst>
        </pc:spChg>
        <pc:picChg chg="del">
          <ac:chgData name="Isabel Rose Gippo" userId="S::irg9370@ads.northwestern.edu::b10bfe7e-55b9-46dd-9add-2eb52cb66d3b" providerId="AD" clId="Web-{DC570ED0-804E-A0E2-5D93-D510896DFB64}" dt="2023-10-24T13:56:26.938" v="382"/>
          <ac:picMkLst>
            <pc:docMk/>
            <pc:sldMk cId="2849312483" sldId="570"/>
            <ac:picMk id="2" creationId="{7088B35E-417D-2903-C144-75276D9E0FF3}"/>
          </ac:picMkLst>
        </pc:picChg>
        <pc:picChg chg="add del mod">
          <ac:chgData name="Isabel Rose Gippo" userId="S::irg9370@ads.northwestern.edu::b10bfe7e-55b9-46dd-9add-2eb52cb66d3b" providerId="AD" clId="Web-{DC570ED0-804E-A0E2-5D93-D510896DFB64}" dt="2023-10-24T14:01:02.948" v="468"/>
          <ac:picMkLst>
            <pc:docMk/>
            <pc:sldMk cId="2849312483" sldId="570"/>
            <ac:picMk id="3" creationId="{60CCB867-B87F-D599-0728-D3845AEE0902}"/>
          </ac:picMkLst>
        </pc:picChg>
        <pc:picChg chg="add mod">
          <ac:chgData name="Isabel Rose Gippo" userId="S::irg9370@ads.northwestern.edu::b10bfe7e-55b9-46dd-9add-2eb52cb66d3b" providerId="AD" clId="Web-{DC570ED0-804E-A0E2-5D93-D510896DFB64}" dt="2023-10-24T14:08:44.372" v="557" actId="1076"/>
          <ac:picMkLst>
            <pc:docMk/>
            <pc:sldMk cId="2849312483" sldId="570"/>
            <ac:picMk id="8" creationId="{59E0F2EE-E480-541D-E8E7-5C865B35C88F}"/>
          </ac:picMkLst>
        </pc:picChg>
        <pc:picChg chg="add del mod">
          <ac:chgData name="Isabel Rose Gippo" userId="S::irg9370@ads.northwestern.edu::b10bfe7e-55b9-46dd-9add-2eb52cb66d3b" providerId="AD" clId="Web-{DC570ED0-804E-A0E2-5D93-D510896DFB64}" dt="2023-10-24T14:22:57.108" v="581"/>
          <ac:picMkLst>
            <pc:docMk/>
            <pc:sldMk cId="2849312483" sldId="570"/>
            <ac:picMk id="11" creationId="{3B324708-4939-E4F4-BA17-AB8F89FD8F8A}"/>
          </ac:picMkLst>
        </pc:picChg>
        <pc:picChg chg="add del mod">
          <ac:chgData name="Isabel Rose Gippo" userId="S::irg9370@ads.northwestern.edu::b10bfe7e-55b9-46dd-9add-2eb52cb66d3b" providerId="AD" clId="Web-{DC570ED0-804E-A0E2-5D93-D510896DFB64}" dt="2023-10-24T14:24:02.657" v="623"/>
          <ac:picMkLst>
            <pc:docMk/>
            <pc:sldMk cId="2849312483" sldId="570"/>
            <ac:picMk id="12" creationId="{9F0EA567-DB06-4C7E-2FD2-D021E131A108}"/>
          </ac:picMkLst>
        </pc:picChg>
        <pc:picChg chg="add mod">
          <ac:chgData name="Isabel Rose Gippo" userId="S::irg9370@ads.northwestern.edu::b10bfe7e-55b9-46dd-9add-2eb52cb66d3b" providerId="AD" clId="Web-{DC570ED0-804E-A0E2-5D93-D510896DFB64}" dt="2023-10-24T14:25:12.957" v="624"/>
          <ac:picMkLst>
            <pc:docMk/>
            <pc:sldMk cId="2849312483" sldId="570"/>
            <ac:picMk id="13" creationId="{03BF52CD-31EC-FC46-9A7F-3B257CCAC6A4}"/>
          </ac:picMkLst>
        </pc:picChg>
      </pc:sldChg>
    </pc:docChg>
  </pc:docChgLst>
  <pc:docChgLst>
    <pc:chgData name="Isabel Rose Gippo" userId="S::irg9370@ads.northwestern.edu::b10bfe7e-55b9-46dd-9add-2eb52cb66d3b" providerId="AD" clId="Web-{2F9B0802-2085-E0B0-3887-F6AEBA41C785}"/>
    <pc:docChg chg="addSld delSld modSld">
      <pc:chgData name="Isabel Rose Gippo" userId="S::irg9370@ads.northwestern.edu::b10bfe7e-55b9-46dd-9add-2eb52cb66d3b" providerId="AD" clId="Web-{2F9B0802-2085-E0B0-3887-F6AEBA41C785}" dt="2023-10-27T20:01:53.166" v="22" actId="1076"/>
      <pc:docMkLst>
        <pc:docMk/>
      </pc:docMkLst>
      <pc:sldChg chg="del">
        <pc:chgData name="Isabel Rose Gippo" userId="S::irg9370@ads.northwestern.edu::b10bfe7e-55b9-46dd-9add-2eb52cb66d3b" providerId="AD" clId="Web-{2F9B0802-2085-E0B0-3887-F6AEBA41C785}" dt="2023-10-27T19:58:33.365" v="0"/>
        <pc:sldMkLst>
          <pc:docMk/>
          <pc:sldMk cId="4102962722" sldId="592"/>
        </pc:sldMkLst>
      </pc:sldChg>
      <pc:sldChg chg="del">
        <pc:chgData name="Isabel Rose Gippo" userId="S::irg9370@ads.northwestern.edu::b10bfe7e-55b9-46dd-9add-2eb52cb66d3b" providerId="AD" clId="Web-{2F9B0802-2085-E0B0-3887-F6AEBA41C785}" dt="2023-10-27T20:00:46.790" v="13"/>
        <pc:sldMkLst>
          <pc:docMk/>
          <pc:sldMk cId="761656701" sldId="610"/>
        </pc:sldMkLst>
      </pc:sldChg>
      <pc:sldChg chg="del">
        <pc:chgData name="Isabel Rose Gippo" userId="S::irg9370@ads.northwestern.edu::b10bfe7e-55b9-46dd-9add-2eb52cb66d3b" providerId="AD" clId="Web-{2F9B0802-2085-E0B0-3887-F6AEBA41C785}" dt="2023-10-27T20:00:36.336" v="12"/>
        <pc:sldMkLst>
          <pc:docMk/>
          <pc:sldMk cId="2881039477" sldId="611"/>
        </pc:sldMkLst>
      </pc:sldChg>
      <pc:sldChg chg="del">
        <pc:chgData name="Isabel Rose Gippo" userId="S::irg9370@ads.northwestern.edu::b10bfe7e-55b9-46dd-9add-2eb52cb66d3b" providerId="AD" clId="Web-{2F9B0802-2085-E0B0-3887-F6AEBA41C785}" dt="2023-10-27T20:00:36.321" v="11"/>
        <pc:sldMkLst>
          <pc:docMk/>
          <pc:sldMk cId="2453854057" sldId="612"/>
        </pc:sldMkLst>
      </pc:sldChg>
      <pc:sldChg chg="del">
        <pc:chgData name="Isabel Rose Gippo" userId="S::irg9370@ads.northwestern.edu::b10bfe7e-55b9-46dd-9add-2eb52cb66d3b" providerId="AD" clId="Web-{2F9B0802-2085-E0B0-3887-F6AEBA41C785}" dt="2023-10-27T20:00:36.258" v="10"/>
        <pc:sldMkLst>
          <pc:docMk/>
          <pc:sldMk cId="2100949110" sldId="613"/>
        </pc:sldMkLst>
      </pc:sldChg>
      <pc:sldChg chg="del">
        <pc:chgData name="Isabel Rose Gippo" userId="S::irg9370@ads.northwestern.edu::b10bfe7e-55b9-46dd-9add-2eb52cb66d3b" providerId="AD" clId="Web-{2F9B0802-2085-E0B0-3887-F6AEBA41C785}" dt="2023-10-27T20:00:36.133" v="9"/>
        <pc:sldMkLst>
          <pc:docMk/>
          <pc:sldMk cId="2272124241" sldId="614"/>
        </pc:sldMkLst>
      </pc:sldChg>
      <pc:sldChg chg="add">
        <pc:chgData name="Isabel Rose Gippo" userId="S::irg9370@ads.northwestern.edu::b10bfe7e-55b9-46dd-9add-2eb52cb66d3b" providerId="AD" clId="Web-{2F9B0802-2085-E0B0-3887-F6AEBA41C785}" dt="2023-10-27T19:59:03.818" v="1"/>
        <pc:sldMkLst>
          <pc:docMk/>
          <pc:sldMk cId="1987746666" sldId="623"/>
        </pc:sldMkLst>
      </pc:sldChg>
      <pc:sldChg chg="add addCm">
        <pc:chgData name="Isabel Rose Gippo" userId="S::irg9370@ads.northwestern.edu::b10bfe7e-55b9-46dd-9add-2eb52cb66d3b" providerId="AD" clId="Web-{2F9B0802-2085-E0B0-3887-F6AEBA41C785}" dt="2023-10-27T19:59:45.241" v="4"/>
        <pc:sldMkLst>
          <pc:docMk/>
          <pc:sldMk cId="2500564114" sldId="62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19:59:45.241" v="4"/>
              <pc2:cmMkLst xmlns:pc2="http://schemas.microsoft.com/office/powerpoint/2019/9/main/command">
                <pc:docMk/>
                <pc:sldMk cId="2500564114" sldId="624"/>
                <pc2:cmMk id="{0491C656-E5F5-41C8-B311-8559AF33E6F6}"/>
              </pc2:cmMkLst>
            </pc226:cmChg>
          </p:ext>
        </pc:extLst>
      </pc:sldChg>
      <pc:sldChg chg="add">
        <pc:chgData name="Isabel Rose Gippo" userId="S::irg9370@ads.northwestern.edu::b10bfe7e-55b9-46dd-9add-2eb52cb66d3b" providerId="AD" clId="Web-{2F9B0802-2085-E0B0-3887-F6AEBA41C785}" dt="2023-10-27T19:59:05.678" v="3"/>
        <pc:sldMkLst>
          <pc:docMk/>
          <pc:sldMk cId="924990962" sldId="625"/>
        </pc:sldMkLst>
      </pc:sldChg>
      <pc:sldChg chg="add">
        <pc:chgData name="Isabel Rose Gippo" userId="S::irg9370@ads.northwestern.edu::b10bfe7e-55b9-46dd-9add-2eb52cb66d3b" providerId="AD" clId="Web-{2F9B0802-2085-E0B0-3887-F6AEBA41C785}" dt="2023-10-27T20:00:14.758" v="5"/>
        <pc:sldMkLst>
          <pc:docMk/>
          <pc:sldMk cId="3004443360" sldId="626"/>
        </pc:sldMkLst>
      </pc:sldChg>
      <pc:sldChg chg="add addCm modNotes">
        <pc:chgData name="Isabel Rose Gippo" userId="S::irg9370@ads.northwestern.edu::b10bfe7e-55b9-46dd-9add-2eb52cb66d3b" providerId="AD" clId="Web-{2F9B0802-2085-E0B0-3887-F6AEBA41C785}" dt="2023-10-27T20:01:37.572" v="21"/>
        <pc:sldMkLst>
          <pc:docMk/>
          <pc:sldMk cId="53107998" sldId="627"/>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26.853" v="20"/>
              <pc2:cmMkLst xmlns:pc2="http://schemas.microsoft.com/office/powerpoint/2019/9/main/command">
                <pc:docMk/>
                <pc:sldMk cId="53107998" sldId="627"/>
                <pc2:cmMk id="{C48A6C56-B343-467E-9FD1-86B163B01706}"/>
              </pc2:cmMkLst>
            </pc226:cmChg>
            <pc226:cmChg xmlns:pc226="http://schemas.microsoft.com/office/powerpoint/2022/06/main/command" chg="add">
              <pc226:chgData name="Isabel Rose Gippo" userId="S::irg9370@ads.northwestern.edu::b10bfe7e-55b9-46dd-9add-2eb52cb66d3b" providerId="AD" clId="Web-{2F9B0802-2085-E0B0-3887-F6AEBA41C785}" dt="2023-10-27T20:01:37.572" v="21"/>
              <pc2:cmMkLst xmlns:pc2="http://schemas.microsoft.com/office/powerpoint/2019/9/main/command">
                <pc:docMk/>
                <pc:sldMk cId="53107998" sldId="627"/>
                <pc2:cmMk id="{46D04177-1E1A-4590-B3B8-03DE51A18B3C}"/>
              </pc2:cmMkLst>
            </pc226:cmChg>
          </p:ext>
        </pc:extLst>
      </pc:sldChg>
      <pc:sldChg chg="add addCm">
        <pc:chgData name="Isabel Rose Gippo" userId="S::irg9370@ads.northwestern.edu::b10bfe7e-55b9-46dd-9add-2eb52cb66d3b" providerId="AD" clId="Web-{2F9B0802-2085-E0B0-3887-F6AEBA41C785}" dt="2023-10-27T20:01:16.493" v="18"/>
        <pc:sldMkLst>
          <pc:docMk/>
          <pc:sldMk cId="534784336" sldId="62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16.493" v="18"/>
              <pc2:cmMkLst xmlns:pc2="http://schemas.microsoft.com/office/powerpoint/2019/9/main/command">
                <pc:docMk/>
                <pc:sldMk cId="534784336" sldId="628"/>
                <pc2:cmMk id="{D2FD4193-EF38-49C6-9875-8E415492E71E}"/>
              </pc2:cmMkLst>
            </pc226:cmChg>
          </p:ext>
        </pc:extLst>
      </pc:sldChg>
      <pc:sldChg chg="modSp add modNotes">
        <pc:chgData name="Isabel Rose Gippo" userId="S::irg9370@ads.northwestern.edu::b10bfe7e-55b9-46dd-9add-2eb52cb66d3b" providerId="AD" clId="Web-{2F9B0802-2085-E0B0-3887-F6AEBA41C785}" dt="2023-10-27T20:01:53.166" v="22" actId="1076"/>
        <pc:sldMkLst>
          <pc:docMk/>
          <pc:sldMk cId="2981412015" sldId="629"/>
        </pc:sldMkLst>
        <pc:spChg chg="mod">
          <ac:chgData name="Isabel Rose Gippo" userId="S::irg9370@ads.northwestern.edu::b10bfe7e-55b9-46dd-9add-2eb52cb66d3b" providerId="AD" clId="Web-{2F9B0802-2085-E0B0-3887-F6AEBA41C785}" dt="2023-10-27T20:01:53.166" v="22" actId="1076"/>
          <ac:spMkLst>
            <pc:docMk/>
            <pc:sldMk cId="2981412015" sldId="629"/>
            <ac:spMk id="17" creationId="{9F30C5B8-4454-3B8D-2126-4A9866DF704E}"/>
          </ac:spMkLst>
        </pc:spChg>
      </pc:sldChg>
    </pc:docChg>
  </pc:docChgLst>
  <pc:docChgLst>
    <pc:chgData name="Isabel Rose Gippo" userId="S::irg9370@ads.northwestern.edu::b10bfe7e-55b9-46dd-9add-2eb52cb66d3b" providerId="AD" clId="Web-{4159E2D1-1878-F778-C779-F53B58D257B9}"/>
    <pc:docChg chg="addSld delSld modSld">
      <pc:chgData name="Isabel Rose Gippo" userId="S::irg9370@ads.northwestern.edu::b10bfe7e-55b9-46dd-9add-2eb52cb66d3b" providerId="AD" clId="Web-{4159E2D1-1878-F778-C779-F53B58D257B9}" dt="2023-10-27T17:39:04.029" v="47" actId="1076"/>
      <pc:docMkLst>
        <pc:docMk/>
      </pc:docMkLst>
      <pc:sldChg chg="del">
        <pc:chgData name="Isabel Rose Gippo" userId="S::irg9370@ads.northwestern.edu::b10bfe7e-55b9-46dd-9add-2eb52cb66d3b" providerId="AD" clId="Web-{4159E2D1-1878-F778-C779-F53B58D257B9}" dt="2023-10-27T17:35:16.904" v="10"/>
        <pc:sldMkLst>
          <pc:docMk/>
          <pc:sldMk cId="3969440120" sldId="593"/>
        </pc:sldMkLst>
      </pc:sldChg>
      <pc:sldChg chg="del">
        <pc:chgData name="Isabel Rose Gippo" userId="S::irg9370@ads.northwestern.edu::b10bfe7e-55b9-46dd-9add-2eb52cb66d3b" providerId="AD" clId="Web-{4159E2D1-1878-F778-C779-F53B58D257B9}" dt="2023-10-27T17:35:13.185" v="9"/>
        <pc:sldMkLst>
          <pc:docMk/>
          <pc:sldMk cId="2412661198" sldId="594"/>
        </pc:sldMkLst>
      </pc:sldChg>
      <pc:sldChg chg="del">
        <pc:chgData name="Isabel Rose Gippo" userId="S::irg9370@ads.northwestern.edu::b10bfe7e-55b9-46dd-9add-2eb52cb66d3b" providerId="AD" clId="Web-{4159E2D1-1878-F778-C779-F53B58D257B9}" dt="2023-10-27T17:35:10.638" v="8"/>
        <pc:sldMkLst>
          <pc:docMk/>
          <pc:sldMk cId="3516145000" sldId="595"/>
        </pc:sldMkLst>
      </pc:sldChg>
      <pc:sldChg chg="del">
        <pc:chgData name="Isabel Rose Gippo" userId="S::irg9370@ads.northwestern.edu::b10bfe7e-55b9-46dd-9add-2eb52cb66d3b" providerId="AD" clId="Web-{4159E2D1-1878-F778-C779-F53B58D257B9}" dt="2023-10-27T17:35:06.920" v="7"/>
        <pc:sldMkLst>
          <pc:docMk/>
          <pc:sldMk cId="2417460478" sldId="596"/>
        </pc:sldMkLst>
      </pc:sldChg>
      <pc:sldChg chg="modSp add">
        <pc:chgData name="Isabel Rose Gippo" userId="S::irg9370@ads.northwestern.edu::b10bfe7e-55b9-46dd-9add-2eb52cb66d3b" providerId="AD" clId="Web-{4159E2D1-1878-F778-C779-F53B58D257B9}" dt="2023-10-27T17:35:02.779" v="6" actId="14100"/>
        <pc:sldMkLst>
          <pc:docMk/>
          <pc:sldMk cId="2628065282" sldId="597"/>
        </pc:sldMkLst>
        <pc:spChg chg="mod">
          <ac:chgData name="Isabel Rose Gippo" userId="S::irg9370@ads.northwestern.edu::b10bfe7e-55b9-46dd-9add-2eb52cb66d3b" providerId="AD" clId="Web-{4159E2D1-1878-F778-C779-F53B58D257B9}" dt="2023-10-27T17:35:02.779" v="6" actId="14100"/>
          <ac:spMkLst>
            <pc:docMk/>
            <pc:sldMk cId="2628065282" sldId="597"/>
            <ac:spMk id="7" creationId="{D7D575A1-5794-5E5A-2C30-51F659D538FF}"/>
          </ac:spMkLst>
        </pc:spChg>
      </pc:sldChg>
      <pc:sldChg chg="add">
        <pc:chgData name="Isabel Rose Gippo" userId="S::irg9370@ads.northwestern.edu::b10bfe7e-55b9-46dd-9add-2eb52cb66d3b" providerId="AD" clId="Web-{4159E2D1-1878-F778-C779-F53B58D257B9}" dt="2023-10-27T17:34:19.138" v="1"/>
        <pc:sldMkLst>
          <pc:docMk/>
          <pc:sldMk cId="1478149357" sldId="598"/>
        </pc:sldMkLst>
      </pc:sldChg>
      <pc:sldChg chg="add">
        <pc:chgData name="Isabel Rose Gippo" userId="S::irg9370@ads.northwestern.edu::b10bfe7e-55b9-46dd-9add-2eb52cb66d3b" providerId="AD" clId="Web-{4159E2D1-1878-F778-C779-F53B58D257B9}" dt="2023-10-27T17:34:48.717" v="2"/>
        <pc:sldMkLst>
          <pc:docMk/>
          <pc:sldMk cId="2470795492" sldId="599"/>
        </pc:sldMkLst>
      </pc:sldChg>
      <pc:sldChg chg="add">
        <pc:chgData name="Isabel Rose Gippo" userId="S::irg9370@ads.northwestern.edu::b10bfe7e-55b9-46dd-9add-2eb52cb66d3b" providerId="AD" clId="Web-{4159E2D1-1878-F778-C779-F53B58D257B9}" dt="2023-10-27T17:34:49.404" v="3"/>
        <pc:sldMkLst>
          <pc:docMk/>
          <pc:sldMk cId="2592767400" sldId="600"/>
        </pc:sldMkLst>
      </pc:sldChg>
      <pc:sldChg chg="add">
        <pc:chgData name="Isabel Rose Gippo" userId="S::irg9370@ads.northwestern.edu::b10bfe7e-55b9-46dd-9add-2eb52cb66d3b" providerId="AD" clId="Web-{4159E2D1-1878-F778-C779-F53B58D257B9}" dt="2023-10-27T17:34:50.092" v="4"/>
        <pc:sldMkLst>
          <pc:docMk/>
          <pc:sldMk cId="3023536423" sldId="601"/>
        </pc:sldMkLst>
      </pc:sldChg>
      <pc:sldChg chg="add">
        <pc:chgData name="Isabel Rose Gippo" userId="S::irg9370@ads.northwestern.edu::b10bfe7e-55b9-46dd-9add-2eb52cb66d3b" providerId="AD" clId="Web-{4159E2D1-1878-F778-C779-F53B58D257B9}" dt="2023-10-27T17:34:50.779" v="5"/>
        <pc:sldMkLst>
          <pc:docMk/>
          <pc:sldMk cId="1011826885" sldId="602"/>
        </pc:sldMkLst>
      </pc:sldChg>
      <pc:sldChg chg="add">
        <pc:chgData name="Isabel Rose Gippo" userId="S::irg9370@ads.northwestern.edu::b10bfe7e-55b9-46dd-9add-2eb52cb66d3b" providerId="AD" clId="Web-{4159E2D1-1878-F778-C779-F53B58D257B9}" dt="2023-10-27T17:35:26.013" v="11"/>
        <pc:sldMkLst>
          <pc:docMk/>
          <pc:sldMk cId="600547746" sldId="603"/>
        </pc:sldMkLst>
      </pc:sldChg>
      <pc:sldChg chg="add addCm">
        <pc:chgData name="Isabel Rose Gippo" userId="S::irg9370@ads.northwestern.edu::b10bfe7e-55b9-46dd-9add-2eb52cb66d3b" providerId="AD" clId="Web-{4159E2D1-1878-F778-C779-F53B58D257B9}" dt="2023-10-27T17:36:25.967" v="14"/>
        <pc:sldMkLst>
          <pc:docMk/>
          <pc:sldMk cId="3355787309" sldId="60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4159E2D1-1878-F778-C779-F53B58D257B9}" dt="2023-10-27T17:36:25.967" v="14"/>
              <pc2:cmMkLst xmlns:pc2="http://schemas.microsoft.com/office/powerpoint/2019/9/main/command">
                <pc:docMk/>
                <pc:sldMk cId="3355787309" sldId="604"/>
                <pc2:cmMk id="{5635E0A6-AC69-4FB6-B7FE-9DA078BBCAEE}"/>
              </pc2:cmMkLst>
            </pc226:cmChg>
          </p:ext>
        </pc:extLst>
      </pc:sldChg>
      <pc:sldChg chg="add">
        <pc:chgData name="Isabel Rose Gippo" userId="S::irg9370@ads.northwestern.edu::b10bfe7e-55b9-46dd-9add-2eb52cb66d3b" providerId="AD" clId="Web-{4159E2D1-1878-F778-C779-F53B58D257B9}" dt="2023-10-27T17:35:27.435" v="13"/>
        <pc:sldMkLst>
          <pc:docMk/>
          <pc:sldMk cId="1452140663" sldId="605"/>
        </pc:sldMkLst>
      </pc:sldChg>
      <pc:sldChg chg="add">
        <pc:chgData name="Isabel Rose Gippo" userId="S::irg9370@ads.northwestern.edu::b10bfe7e-55b9-46dd-9add-2eb52cb66d3b" providerId="AD" clId="Web-{4159E2D1-1878-F778-C779-F53B58D257B9}" dt="2023-10-27T17:36:48.201" v="15"/>
        <pc:sldMkLst>
          <pc:docMk/>
          <pc:sldMk cId="1937423064" sldId="606"/>
        </pc:sldMkLst>
      </pc:sldChg>
      <pc:sldChg chg="add">
        <pc:chgData name="Isabel Rose Gippo" userId="S::irg9370@ads.northwestern.edu::b10bfe7e-55b9-46dd-9add-2eb52cb66d3b" providerId="AD" clId="Web-{4159E2D1-1878-F778-C779-F53B58D257B9}" dt="2023-10-27T17:36:48.920" v="16"/>
        <pc:sldMkLst>
          <pc:docMk/>
          <pc:sldMk cId="3774016129" sldId="607"/>
        </pc:sldMkLst>
      </pc:sldChg>
      <pc:sldChg chg="add">
        <pc:chgData name="Isabel Rose Gippo" userId="S::irg9370@ads.northwestern.edu::b10bfe7e-55b9-46dd-9add-2eb52cb66d3b" providerId="AD" clId="Web-{4159E2D1-1878-F778-C779-F53B58D257B9}" dt="2023-10-27T17:36:49.623" v="17"/>
        <pc:sldMkLst>
          <pc:docMk/>
          <pc:sldMk cId="3226012611" sldId="608"/>
        </pc:sldMkLst>
      </pc:sldChg>
      <pc:sldChg chg="add">
        <pc:chgData name="Isabel Rose Gippo" userId="S::irg9370@ads.northwestern.edu::b10bfe7e-55b9-46dd-9add-2eb52cb66d3b" providerId="AD" clId="Web-{4159E2D1-1878-F778-C779-F53B58D257B9}" dt="2023-10-27T17:36:50.295" v="18"/>
        <pc:sldMkLst>
          <pc:docMk/>
          <pc:sldMk cId="2003568291" sldId="609"/>
        </pc:sldMkLst>
      </pc:sldChg>
      <pc:sldChg chg="add replId modNotes">
        <pc:chgData name="Isabel Rose Gippo" userId="S::irg9370@ads.northwestern.edu::b10bfe7e-55b9-46dd-9add-2eb52cb66d3b" providerId="AD" clId="Web-{4159E2D1-1878-F778-C779-F53B58D257B9}" dt="2023-10-27T17:37:46.435" v="26"/>
        <pc:sldMkLst>
          <pc:docMk/>
          <pc:sldMk cId="761656701" sldId="610"/>
        </pc:sldMkLst>
      </pc:sldChg>
      <pc:sldChg chg="add replId modNotes">
        <pc:chgData name="Isabel Rose Gippo" userId="S::irg9370@ads.northwestern.edu::b10bfe7e-55b9-46dd-9add-2eb52cb66d3b" providerId="AD" clId="Web-{4159E2D1-1878-F778-C779-F53B58D257B9}" dt="2023-10-27T17:38:01.529" v="31"/>
        <pc:sldMkLst>
          <pc:docMk/>
          <pc:sldMk cId="2881039477" sldId="611"/>
        </pc:sldMkLst>
      </pc:sldChg>
      <pc:sldChg chg="new modNotes">
        <pc:chgData name="Isabel Rose Gippo" userId="S::irg9370@ads.northwestern.edu::b10bfe7e-55b9-46dd-9add-2eb52cb66d3b" providerId="AD" clId="Web-{4159E2D1-1878-F778-C779-F53B58D257B9}" dt="2023-10-27T17:38:59.920" v="43"/>
        <pc:sldMkLst>
          <pc:docMk/>
          <pc:sldMk cId="2453854057" sldId="612"/>
        </pc:sldMkLst>
      </pc:sldChg>
      <pc:sldChg chg="new modNotes">
        <pc:chgData name="Isabel Rose Gippo" userId="S::irg9370@ads.northwestern.edu::b10bfe7e-55b9-46dd-9add-2eb52cb66d3b" providerId="AD" clId="Web-{4159E2D1-1878-F778-C779-F53B58D257B9}" dt="2023-10-27T17:38:25.201" v="40"/>
        <pc:sldMkLst>
          <pc:docMk/>
          <pc:sldMk cId="2100949110" sldId="613"/>
        </pc:sldMkLst>
      </pc:sldChg>
      <pc:sldChg chg="modSp new modNotes">
        <pc:chgData name="Isabel Rose Gippo" userId="S::irg9370@ads.northwestern.edu::b10bfe7e-55b9-46dd-9add-2eb52cb66d3b" providerId="AD" clId="Web-{4159E2D1-1878-F778-C779-F53B58D257B9}" dt="2023-10-27T17:39:04.029" v="47" actId="1076"/>
        <pc:sldMkLst>
          <pc:docMk/>
          <pc:sldMk cId="2272124241" sldId="614"/>
        </pc:sldMkLst>
        <pc:spChg chg="mod">
          <ac:chgData name="Isabel Rose Gippo" userId="S::irg9370@ads.northwestern.edu::b10bfe7e-55b9-46dd-9add-2eb52cb66d3b" providerId="AD" clId="Web-{4159E2D1-1878-F778-C779-F53B58D257B9}" dt="2023-10-27T17:39:04.029" v="47" actId="1076"/>
          <ac:spMkLst>
            <pc:docMk/>
            <pc:sldMk cId="2272124241" sldId="614"/>
            <ac:spMk id="5" creationId="{C0418939-1E64-B1E2-A591-B2119343AE0C}"/>
          </ac:spMkLst>
        </pc:spChg>
      </pc:sldChg>
    </pc:docChg>
  </pc:docChgLst>
  <pc:docChgLst>
    <pc:chgData name="Eileen Fleming Suse" userId="S::efs3844@ads.northwestern.edu::725c94ef-d051-42d7-9d33-8572765d592b" providerId="AD" clId="Web-{8544FFE2-8133-585B-66CC-2C8177C23087}"/>
    <pc:docChg chg="addSld delSld modSld sldOrd">
      <pc:chgData name="Eileen Fleming Suse" userId="S::efs3844@ads.northwestern.edu::725c94ef-d051-42d7-9d33-8572765d592b" providerId="AD" clId="Web-{8544FFE2-8133-585B-66CC-2C8177C23087}" dt="2023-11-18T01:37:30.204" v="360"/>
      <pc:docMkLst>
        <pc:docMk/>
      </pc:docMkLst>
      <pc:sldChg chg="modSp">
        <pc:chgData name="Eileen Fleming Suse" userId="S::efs3844@ads.northwestern.edu::725c94ef-d051-42d7-9d33-8572765d592b" providerId="AD" clId="Web-{8544FFE2-8133-585B-66CC-2C8177C23087}" dt="2023-11-17T18:36:52.933" v="30" actId="20577"/>
        <pc:sldMkLst>
          <pc:docMk/>
          <pc:sldMk cId="4044691067" sldId="283"/>
        </pc:sldMkLst>
        <pc:spChg chg="mod">
          <ac:chgData name="Eileen Fleming Suse" userId="S::efs3844@ads.northwestern.edu::725c94ef-d051-42d7-9d33-8572765d592b" providerId="AD" clId="Web-{8544FFE2-8133-585B-66CC-2C8177C23087}" dt="2023-11-17T18:36:52.933" v="30"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8544FFE2-8133-585B-66CC-2C8177C23087}" dt="2023-11-17T18:24:59.947" v="11" actId="20577"/>
        <pc:sldMkLst>
          <pc:docMk/>
          <pc:sldMk cId="1036043289" sldId="546"/>
        </pc:sldMkLst>
        <pc:spChg chg="mod">
          <ac:chgData name="Eileen Fleming Suse" userId="S::efs3844@ads.northwestern.edu::725c94ef-d051-42d7-9d33-8572765d592b" providerId="AD" clId="Web-{8544FFE2-8133-585B-66CC-2C8177C23087}" dt="2023-11-17T18:24:59.947" v="11" actId="20577"/>
          <ac:spMkLst>
            <pc:docMk/>
            <pc:sldMk cId="1036043289" sldId="546"/>
            <ac:spMk id="2" creationId="{67E16CF5-47C8-BEAD-25F8-81514DC0AF8B}"/>
          </ac:spMkLst>
        </pc:spChg>
      </pc:sldChg>
      <pc:sldChg chg="modSp">
        <pc:chgData name="Eileen Fleming Suse" userId="S::efs3844@ads.northwestern.edu::725c94ef-d051-42d7-9d33-8572765d592b" providerId="AD" clId="Web-{8544FFE2-8133-585B-66CC-2C8177C23087}" dt="2023-11-17T20:47:30.318" v="211" actId="20577"/>
        <pc:sldMkLst>
          <pc:docMk/>
          <pc:sldMk cId="714682852" sldId="552"/>
        </pc:sldMkLst>
        <pc:spChg chg="mod">
          <ac:chgData name="Eileen Fleming Suse" userId="S::efs3844@ads.northwestern.edu::725c94ef-d051-42d7-9d33-8572765d592b" providerId="AD" clId="Web-{8544FFE2-8133-585B-66CC-2C8177C23087}" dt="2023-11-17T20:47:04.161" v="210"/>
          <ac:spMkLst>
            <pc:docMk/>
            <pc:sldMk cId="714682852" sldId="552"/>
            <ac:spMk id="2" creationId="{966FAC69-62AA-D40E-C4BD-DAD5BF599C69}"/>
          </ac:spMkLst>
        </pc:spChg>
        <pc:spChg chg="mod">
          <ac:chgData name="Eileen Fleming Suse" userId="S::efs3844@ads.northwestern.edu::725c94ef-d051-42d7-9d33-8572765d592b" providerId="AD" clId="Web-{8544FFE2-8133-585B-66CC-2C8177C23087}" dt="2023-11-17T20:47:30.318" v="211" actId="20577"/>
          <ac:spMkLst>
            <pc:docMk/>
            <pc:sldMk cId="714682852" sldId="552"/>
            <ac:spMk id="35" creationId="{53BCC135-7316-5956-0C96-6C92A1A248BB}"/>
          </ac:spMkLst>
        </pc:spChg>
      </pc:sldChg>
      <pc:sldChg chg="del">
        <pc:chgData name="Eileen Fleming Suse" userId="S::efs3844@ads.northwestern.edu::725c94ef-d051-42d7-9d33-8572765d592b" providerId="AD" clId="Web-{8544FFE2-8133-585B-66CC-2C8177C23087}" dt="2023-11-17T18:20:18.784" v="4"/>
        <pc:sldMkLst>
          <pc:docMk/>
          <pc:sldMk cId="3536510335" sldId="553"/>
        </pc:sldMkLst>
      </pc:sldChg>
      <pc:sldChg chg="del">
        <pc:chgData name="Eileen Fleming Suse" userId="S::efs3844@ads.northwestern.edu::725c94ef-d051-42d7-9d33-8572765d592b" providerId="AD" clId="Web-{8544FFE2-8133-585B-66CC-2C8177C23087}" dt="2023-11-17T18:20:04.909" v="3"/>
        <pc:sldMkLst>
          <pc:docMk/>
          <pc:sldMk cId="1231844700" sldId="554"/>
        </pc:sldMkLst>
      </pc:sldChg>
      <pc:sldChg chg="del">
        <pc:chgData name="Eileen Fleming Suse" userId="S::efs3844@ads.northwestern.edu::725c94ef-d051-42d7-9d33-8572765d592b" providerId="AD" clId="Web-{8544FFE2-8133-585B-66CC-2C8177C23087}" dt="2023-11-17T18:28:09.764" v="14"/>
        <pc:sldMkLst>
          <pc:docMk/>
          <pc:sldMk cId="2564870475" sldId="566"/>
        </pc:sldMkLst>
      </pc:sldChg>
      <pc:sldChg chg="del">
        <pc:chgData name="Eileen Fleming Suse" userId="S::efs3844@ads.northwestern.edu::725c94ef-d051-42d7-9d33-8572765d592b" providerId="AD" clId="Web-{8544FFE2-8133-585B-66CC-2C8177C23087}" dt="2023-11-17T18:27:58.827" v="13"/>
        <pc:sldMkLst>
          <pc:docMk/>
          <pc:sldMk cId="3870927286" sldId="583"/>
        </pc:sldMkLst>
      </pc:sldChg>
      <pc:sldChg chg="del">
        <pc:chgData name="Eileen Fleming Suse" userId="S::efs3844@ads.northwestern.edu::725c94ef-d051-42d7-9d33-8572765d592b" providerId="AD" clId="Web-{8544FFE2-8133-585B-66CC-2C8177C23087}" dt="2023-11-17T18:28:24.202" v="15"/>
        <pc:sldMkLst>
          <pc:docMk/>
          <pc:sldMk cId="1210022179" sldId="617"/>
        </pc:sldMkLst>
      </pc:sldChg>
      <pc:sldChg chg="ord">
        <pc:chgData name="Eileen Fleming Suse" userId="S::efs3844@ads.northwestern.edu::725c94ef-d051-42d7-9d33-8572765d592b" providerId="AD" clId="Web-{8544FFE2-8133-585B-66CC-2C8177C23087}" dt="2023-11-17T18:27:48.029" v="12"/>
        <pc:sldMkLst>
          <pc:docMk/>
          <pc:sldMk cId="3850125703" sldId="622"/>
        </pc:sldMkLst>
      </pc:sldChg>
      <pc:sldChg chg="del">
        <pc:chgData name="Eileen Fleming Suse" userId="S::efs3844@ads.northwestern.edu::725c94ef-d051-42d7-9d33-8572765d592b" providerId="AD" clId="Web-{8544FFE2-8133-585B-66CC-2C8177C23087}" dt="2023-11-17T18:28:24.483" v="16"/>
        <pc:sldMkLst>
          <pc:docMk/>
          <pc:sldMk cId="2561278274" sldId="630"/>
        </pc:sldMkLst>
      </pc:sldChg>
      <pc:sldChg chg="del">
        <pc:chgData name="Eileen Fleming Suse" userId="S::efs3844@ads.northwestern.edu::725c94ef-d051-42d7-9d33-8572765d592b" providerId="AD" clId="Web-{8544FFE2-8133-585B-66CC-2C8177C23087}" dt="2023-11-17T18:28:24.499" v="17"/>
        <pc:sldMkLst>
          <pc:docMk/>
          <pc:sldMk cId="488873692" sldId="631"/>
        </pc:sldMkLst>
      </pc:sldChg>
      <pc:sldChg chg="del">
        <pc:chgData name="Eileen Fleming Suse" userId="S::efs3844@ads.northwestern.edu::725c94ef-d051-42d7-9d33-8572765d592b" providerId="AD" clId="Web-{8544FFE2-8133-585B-66CC-2C8177C23087}" dt="2023-11-17T18:28:45.562" v="18"/>
        <pc:sldMkLst>
          <pc:docMk/>
          <pc:sldMk cId="3115055849" sldId="632"/>
        </pc:sldMkLst>
      </pc:sldChg>
      <pc:sldChg chg="add del">
        <pc:chgData name="Eileen Fleming Suse" userId="S::efs3844@ads.northwestern.edu::725c94ef-d051-42d7-9d33-8572765d592b" providerId="AD" clId="Web-{8544FFE2-8133-585B-66CC-2C8177C23087}" dt="2023-11-17T18:31:41.160" v="22"/>
        <pc:sldMkLst>
          <pc:docMk/>
          <pc:sldMk cId="3999708931" sldId="633"/>
        </pc:sldMkLst>
      </pc:sldChg>
      <pc:sldChg chg="modSp del modNotes">
        <pc:chgData name="Eileen Fleming Suse" userId="S::efs3844@ads.northwestern.edu::725c94ef-d051-42d7-9d33-8572765d592b" providerId="AD" clId="Web-{8544FFE2-8133-585B-66CC-2C8177C23087}" dt="2023-11-17T20:56:58.976" v="246"/>
        <pc:sldMkLst>
          <pc:docMk/>
          <pc:sldMk cId="3123563290" sldId="656"/>
        </pc:sldMkLst>
        <pc:spChg chg="mod">
          <ac:chgData name="Eileen Fleming Suse" userId="S::efs3844@ads.northwestern.edu::725c94ef-d051-42d7-9d33-8572765d592b" providerId="AD" clId="Web-{8544FFE2-8133-585B-66CC-2C8177C23087}" dt="2023-11-17T20:56:22.301" v="227" actId="20577"/>
          <ac:spMkLst>
            <pc:docMk/>
            <pc:sldMk cId="3123563290" sldId="656"/>
            <ac:spMk id="3" creationId="{00000000-0000-0000-0000-000000000000}"/>
          </ac:spMkLst>
        </pc:spChg>
      </pc:sldChg>
      <pc:sldChg chg="del mod modShow">
        <pc:chgData name="Eileen Fleming Suse" userId="S::efs3844@ads.northwestern.edu::725c94ef-d051-42d7-9d33-8572765d592b" providerId="AD" clId="Web-{8544FFE2-8133-585B-66CC-2C8177C23087}" dt="2023-11-17T20:47:52.678" v="212"/>
        <pc:sldMkLst>
          <pc:docMk/>
          <pc:sldMk cId="2276722899" sldId="657"/>
        </pc:sldMkLst>
      </pc:sldChg>
      <pc:sldChg chg="del mod modShow">
        <pc:chgData name="Eileen Fleming Suse" userId="S::efs3844@ads.northwestern.edu::725c94ef-d051-42d7-9d33-8572765d592b" providerId="AD" clId="Web-{8544FFE2-8133-585B-66CC-2C8177C23087}" dt="2023-11-17T20:47:53.193" v="213"/>
        <pc:sldMkLst>
          <pc:docMk/>
          <pc:sldMk cId="198744726" sldId="658"/>
        </pc:sldMkLst>
      </pc:sldChg>
      <pc:sldChg chg="del modNotes">
        <pc:chgData name="Eileen Fleming Suse" userId="S::efs3844@ads.northwestern.edu::725c94ef-d051-42d7-9d33-8572765d592b" providerId="AD" clId="Web-{8544FFE2-8133-585B-66CC-2C8177C23087}" dt="2023-11-17T20:56:58.976" v="245"/>
        <pc:sldMkLst>
          <pc:docMk/>
          <pc:sldMk cId="3367933567" sldId="659"/>
        </pc:sldMkLst>
      </pc:sldChg>
      <pc:sldChg chg="modSp del modNotes">
        <pc:chgData name="Eileen Fleming Suse" userId="S::efs3844@ads.northwestern.edu::725c94ef-d051-42d7-9d33-8572765d592b" providerId="AD" clId="Web-{8544FFE2-8133-585B-66CC-2C8177C23087}" dt="2023-11-17T20:56:58.959" v="244"/>
        <pc:sldMkLst>
          <pc:docMk/>
          <pc:sldMk cId="1238318588" sldId="660"/>
        </pc:sldMkLst>
        <pc:spChg chg="mod">
          <ac:chgData name="Eileen Fleming Suse" userId="S::efs3844@ads.northwestern.edu::725c94ef-d051-42d7-9d33-8572765d592b" providerId="AD" clId="Web-{8544FFE2-8133-585B-66CC-2C8177C23087}" dt="2023-11-17T18:45:38.931" v="34" actId="1076"/>
          <ac:spMkLst>
            <pc:docMk/>
            <pc:sldMk cId="1238318588" sldId="660"/>
            <ac:spMk id="7" creationId="{EAD90045-A731-42F5-ED3E-D5AE61B97B24}"/>
          </ac:spMkLst>
        </pc:spChg>
        <pc:spChg chg="mod">
          <ac:chgData name="Eileen Fleming Suse" userId="S::efs3844@ads.northwestern.edu::725c94ef-d051-42d7-9d33-8572765d592b" providerId="AD" clId="Web-{8544FFE2-8133-585B-66CC-2C8177C23087}" dt="2023-11-17T18:46:17.994" v="38" actId="1076"/>
          <ac:spMkLst>
            <pc:docMk/>
            <pc:sldMk cId="1238318588" sldId="660"/>
            <ac:spMk id="16386" creationId="{00000000-0000-0000-0000-000000000000}"/>
          </ac:spMkLst>
        </pc:spChg>
      </pc:sldChg>
      <pc:sldChg chg="del mod modShow">
        <pc:chgData name="Eileen Fleming Suse" userId="S::efs3844@ads.northwestern.edu::725c94ef-d051-42d7-9d33-8572765d592b" providerId="AD" clId="Web-{8544FFE2-8133-585B-66CC-2C8177C23087}" dt="2023-11-17T20:48:21.757" v="219"/>
        <pc:sldMkLst>
          <pc:docMk/>
          <pc:sldMk cId="3968172727" sldId="661"/>
        </pc:sldMkLst>
      </pc:sldChg>
      <pc:sldChg chg="del">
        <pc:chgData name="Eileen Fleming Suse" userId="S::efs3844@ads.northwestern.edu::725c94ef-d051-42d7-9d33-8572765d592b" providerId="AD" clId="Web-{8544FFE2-8133-585B-66CC-2C8177C23087}" dt="2023-11-17T20:56:58.959" v="243"/>
        <pc:sldMkLst>
          <pc:docMk/>
          <pc:sldMk cId="1157288213" sldId="662"/>
        </pc:sldMkLst>
      </pc:sldChg>
      <pc:sldChg chg="del">
        <pc:chgData name="Eileen Fleming Suse" userId="S::efs3844@ads.northwestern.edu::725c94ef-d051-42d7-9d33-8572765d592b" providerId="AD" clId="Web-{8544FFE2-8133-585B-66CC-2C8177C23087}" dt="2023-11-17T20:56:58.959" v="242"/>
        <pc:sldMkLst>
          <pc:docMk/>
          <pc:sldMk cId="2333012131" sldId="663"/>
        </pc:sldMkLst>
      </pc:sldChg>
      <pc:sldChg chg="del">
        <pc:chgData name="Eileen Fleming Suse" userId="S::efs3844@ads.northwestern.edu::725c94ef-d051-42d7-9d33-8572765d592b" providerId="AD" clId="Web-{8544FFE2-8133-585B-66CC-2C8177C23087}" dt="2023-11-17T20:56:58.943" v="240"/>
        <pc:sldMkLst>
          <pc:docMk/>
          <pc:sldMk cId="2985803891" sldId="664"/>
        </pc:sldMkLst>
      </pc:sldChg>
      <pc:sldChg chg="del">
        <pc:chgData name="Eileen Fleming Suse" userId="S::efs3844@ads.northwestern.edu::725c94ef-d051-42d7-9d33-8572765d592b" providerId="AD" clId="Web-{8544FFE2-8133-585B-66CC-2C8177C23087}" dt="2023-11-17T20:56:58.943" v="239"/>
        <pc:sldMkLst>
          <pc:docMk/>
          <pc:sldMk cId="1562630454" sldId="665"/>
        </pc:sldMkLst>
      </pc:sldChg>
      <pc:sldChg chg="del">
        <pc:chgData name="Eileen Fleming Suse" userId="S::efs3844@ads.northwestern.edu::725c94ef-d051-42d7-9d33-8572765d592b" providerId="AD" clId="Web-{8544FFE2-8133-585B-66CC-2C8177C23087}" dt="2023-11-17T20:56:58.943" v="238"/>
        <pc:sldMkLst>
          <pc:docMk/>
          <pc:sldMk cId="1313773042" sldId="666"/>
        </pc:sldMkLst>
      </pc:sldChg>
      <pc:sldChg chg="del">
        <pc:chgData name="Eileen Fleming Suse" userId="S::efs3844@ads.northwestern.edu::725c94ef-d051-42d7-9d33-8572765d592b" providerId="AD" clId="Web-{8544FFE2-8133-585B-66CC-2C8177C23087}" dt="2023-11-17T20:56:58.927" v="237"/>
        <pc:sldMkLst>
          <pc:docMk/>
          <pc:sldMk cId="2764453072" sldId="667"/>
        </pc:sldMkLst>
      </pc:sldChg>
      <pc:sldChg chg="del">
        <pc:chgData name="Eileen Fleming Suse" userId="S::efs3844@ads.northwestern.edu::725c94ef-d051-42d7-9d33-8572765d592b" providerId="AD" clId="Web-{8544FFE2-8133-585B-66CC-2C8177C23087}" dt="2023-11-17T20:56:58.927" v="236"/>
        <pc:sldMkLst>
          <pc:docMk/>
          <pc:sldMk cId="2638397019" sldId="668"/>
        </pc:sldMkLst>
      </pc:sldChg>
      <pc:sldChg chg="del">
        <pc:chgData name="Eileen Fleming Suse" userId="S::efs3844@ads.northwestern.edu::725c94ef-d051-42d7-9d33-8572765d592b" providerId="AD" clId="Web-{8544FFE2-8133-585B-66CC-2C8177C23087}" dt="2023-11-17T20:56:58.927" v="235"/>
        <pc:sldMkLst>
          <pc:docMk/>
          <pc:sldMk cId="1640072512" sldId="669"/>
        </pc:sldMkLst>
      </pc:sldChg>
      <pc:sldChg chg="del">
        <pc:chgData name="Eileen Fleming Suse" userId="S::efs3844@ads.northwestern.edu::725c94ef-d051-42d7-9d33-8572765d592b" providerId="AD" clId="Web-{8544FFE2-8133-585B-66CC-2C8177C23087}" dt="2023-11-17T20:56:58.927" v="234"/>
        <pc:sldMkLst>
          <pc:docMk/>
          <pc:sldMk cId="3549628686" sldId="670"/>
        </pc:sldMkLst>
      </pc:sldChg>
      <pc:sldChg chg="del">
        <pc:chgData name="Eileen Fleming Suse" userId="S::efs3844@ads.northwestern.edu::725c94ef-d051-42d7-9d33-8572765d592b" providerId="AD" clId="Web-{8544FFE2-8133-585B-66CC-2C8177C23087}" dt="2023-11-17T20:56:58.927" v="233"/>
        <pc:sldMkLst>
          <pc:docMk/>
          <pc:sldMk cId="3419646886" sldId="671"/>
        </pc:sldMkLst>
      </pc:sldChg>
      <pc:sldChg chg="del">
        <pc:chgData name="Eileen Fleming Suse" userId="S::efs3844@ads.northwestern.edu::725c94ef-d051-42d7-9d33-8572765d592b" providerId="AD" clId="Web-{8544FFE2-8133-585B-66CC-2C8177C23087}" dt="2023-11-17T20:56:58.912" v="232"/>
        <pc:sldMkLst>
          <pc:docMk/>
          <pc:sldMk cId="121376505" sldId="672"/>
        </pc:sldMkLst>
      </pc:sldChg>
      <pc:sldChg chg="del">
        <pc:chgData name="Eileen Fleming Suse" userId="S::efs3844@ads.northwestern.edu::725c94ef-d051-42d7-9d33-8572765d592b" providerId="AD" clId="Web-{8544FFE2-8133-585B-66CC-2C8177C23087}" dt="2023-11-17T20:56:58.912" v="231"/>
        <pc:sldMkLst>
          <pc:docMk/>
          <pc:sldMk cId="4246233696" sldId="673"/>
        </pc:sldMkLst>
      </pc:sldChg>
      <pc:sldChg chg="del ord">
        <pc:chgData name="Eileen Fleming Suse" userId="S::efs3844@ads.northwestern.edu::725c94ef-d051-42d7-9d33-8572765d592b" providerId="AD" clId="Web-{8544FFE2-8133-585B-66CC-2C8177C23087}" dt="2023-11-17T20:56:58.943" v="241"/>
        <pc:sldMkLst>
          <pc:docMk/>
          <pc:sldMk cId="3562395065" sldId="674"/>
        </pc:sldMkLst>
      </pc:sldChg>
      <pc:sldChg chg="del">
        <pc:chgData name="Eileen Fleming Suse" userId="S::efs3844@ads.northwestern.edu::725c94ef-d051-42d7-9d33-8572765d592b" providerId="AD" clId="Web-{8544FFE2-8133-585B-66CC-2C8177C23087}" dt="2023-11-17T20:56:58.912" v="230"/>
        <pc:sldMkLst>
          <pc:docMk/>
          <pc:sldMk cId="3537511129" sldId="675"/>
        </pc:sldMkLst>
      </pc:sldChg>
      <pc:sldChg chg="del">
        <pc:chgData name="Eileen Fleming Suse" userId="S::efs3844@ads.northwestern.edu::725c94ef-d051-42d7-9d33-8572765d592b" providerId="AD" clId="Web-{8544FFE2-8133-585B-66CC-2C8177C23087}" dt="2023-11-17T20:56:58.912" v="229"/>
        <pc:sldMkLst>
          <pc:docMk/>
          <pc:sldMk cId="928134893" sldId="676"/>
        </pc:sldMkLst>
      </pc:sldChg>
      <pc:sldChg chg="del">
        <pc:chgData name="Eileen Fleming Suse" userId="S::efs3844@ads.northwestern.edu::725c94ef-d051-42d7-9d33-8572765d592b" providerId="AD" clId="Web-{8544FFE2-8133-585B-66CC-2C8177C23087}" dt="2023-11-17T20:56:58.896" v="228"/>
        <pc:sldMkLst>
          <pc:docMk/>
          <pc:sldMk cId="1611570233" sldId="677"/>
        </pc:sldMkLst>
      </pc:sldChg>
      <pc:sldChg chg="modSp">
        <pc:chgData name="Eileen Fleming Suse" userId="S::efs3844@ads.northwestern.edu::725c94ef-d051-42d7-9d33-8572765d592b" providerId="AD" clId="Web-{8544FFE2-8133-585B-66CC-2C8177C23087}" dt="2023-11-17T18:35:02.603" v="25" actId="20577"/>
        <pc:sldMkLst>
          <pc:docMk/>
          <pc:sldMk cId="3336998141" sldId="681"/>
        </pc:sldMkLst>
        <pc:spChg chg="mod">
          <ac:chgData name="Eileen Fleming Suse" userId="S::efs3844@ads.northwestern.edu::725c94ef-d051-42d7-9d33-8572765d592b" providerId="AD" clId="Web-{8544FFE2-8133-585B-66CC-2C8177C23087}" dt="2023-11-17T18:35:02.603" v="25" actId="20577"/>
          <ac:spMkLst>
            <pc:docMk/>
            <pc:sldMk cId="3336998141" sldId="681"/>
            <ac:spMk id="3" creationId="{00000000-0000-0000-0000-000000000000}"/>
          </ac:spMkLst>
        </pc:spChg>
      </pc:sldChg>
      <pc:sldChg chg="addSp delSp modSp new mod ord setBg">
        <pc:chgData name="Eileen Fleming Suse" userId="S::efs3844@ads.northwestern.edu::725c94ef-d051-42d7-9d33-8572765d592b" providerId="AD" clId="Web-{8544FFE2-8133-585B-66CC-2C8177C23087}" dt="2023-11-17T20:46:53.442" v="209"/>
        <pc:sldMkLst>
          <pc:docMk/>
          <pc:sldMk cId="3080095507" sldId="703"/>
        </pc:sldMkLst>
        <pc:spChg chg="del mod">
          <ac:chgData name="Eileen Fleming Suse" userId="S::efs3844@ads.northwestern.edu::725c94ef-d051-42d7-9d33-8572765d592b" providerId="AD" clId="Web-{8544FFE2-8133-585B-66CC-2C8177C23087}" dt="2023-11-17T20:38:23.552" v="165"/>
          <ac:spMkLst>
            <pc:docMk/>
            <pc:sldMk cId="3080095507" sldId="703"/>
            <ac:spMk id="2" creationId="{6BD83CA6-57D1-222F-83DA-E2A766AEDE89}"/>
          </ac:spMkLst>
        </pc:spChg>
        <pc:spChg chg="del">
          <ac:chgData name="Eileen Fleming Suse" userId="S::efs3844@ads.northwestern.edu::725c94ef-d051-42d7-9d33-8572765d592b" providerId="AD" clId="Web-{8544FFE2-8133-585B-66CC-2C8177C23087}" dt="2023-11-17T20:38:12.130" v="163"/>
          <ac:spMkLst>
            <pc:docMk/>
            <pc:sldMk cId="3080095507" sldId="703"/>
            <ac:spMk id="3" creationId="{9EA76214-B4BA-0A87-AD4C-D257DCE85CE3}"/>
          </ac:spMkLst>
        </pc:spChg>
        <pc:spChg chg="mod ord">
          <ac:chgData name="Eileen Fleming Suse" userId="S::efs3844@ads.northwestern.edu::725c94ef-d051-42d7-9d33-8572765d592b" providerId="AD" clId="Web-{8544FFE2-8133-585B-66CC-2C8177C23087}" dt="2023-11-17T20:41:43.183" v="176"/>
          <ac:spMkLst>
            <pc:docMk/>
            <pc:sldMk cId="3080095507" sldId="703"/>
            <ac:spMk id="4" creationId="{7C6CB985-0431-BE7A-0A14-7D8A51C03E22}"/>
          </ac:spMkLst>
        </pc:spChg>
        <pc:spChg chg="mod">
          <ac:chgData name="Eileen Fleming Suse" userId="S::efs3844@ads.northwestern.edu::725c94ef-d051-42d7-9d33-8572765d592b" providerId="AD" clId="Web-{8544FFE2-8133-585B-66CC-2C8177C23087}" dt="2023-11-17T20:41:43.183" v="176"/>
          <ac:spMkLst>
            <pc:docMk/>
            <pc:sldMk cId="3080095507" sldId="703"/>
            <ac:spMk id="5" creationId="{FD357973-69DB-04A9-A2C1-6BBC79CB3784}"/>
          </ac:spMkLst>
        </pc:spChg>
        <pc:spChg chg="add del mod">
          <ac:chgData name="Eileen Fleming Suse" userId="S::efs3844@ads.northwestern.edu::725c94ef-d051-42d7-9d33-8572765d592b" providerId="AD" clId="Web-{8544FFE2-8133-585B-66CC-2C8177C23087}" dt="2023-11-17T20:41:30.151" v="174"/>
          <ac:spMkLst>
            <pc:docMk/>
            <pc:sldMk cId="3080095507" sldId="703"/>
            <ac:spMk id="8" creationId="{A494F2CF-F558-DF73-AE8A-B3A0553BF3BB}"/>
          </ac:spMkLst>
        </pc:spChg>
        <pc:spChg chg="add mod">
          <ac:chgData name="Eileen Fleming Suse" userId="S::efs3844@ads.northwestern.edu::725c94ef-d051-42d7-9d33-8572765d592b" providerId="AD" clId="Web-{8544FFE2-8133-585B-66CC-2C8177C23087}" dt="2023-11-17T20:46:53.442" v="209"/>
          <ac:spMkLst>
            <pc:docMk/>
            <pc:sldMk cId="3080095507" sldId="703"/>
            <ac:spMk id="14" creationId="{DA90BC2C-8D4E-A05C-243D-BCA657477692}"/>
          </ac:spMkLst>
        </pc:spChg>
        <pc:spChg chg="add">
          <ac:chgData name="Eileen Fleming Suse" userId="S::efs3844@ads.northwestern.edu::725c94ef-d051-42d7-9d33-8572765d592b" providerId="AD" clId="Web-{8544FFE2-8133-585B-66CC-2C8177C23087}" dt="2023-11-17T20:41:43.183" v="176"/>
          <ac:spMkLst>
            <pc:docMk/>
            <pc:sldMk cId="3080095507" sldId="703"/>
            <ac:spMk id="16" creationId="{AA3CC463-F933-4AC4-86E1-5AC14B0C3163}"/>
          </ac:spMkLst>
        </pc:spChg>
        <pc:spChg chg="add">
          <ac:chgData name="Eileen Fleming Suse" userId="S::efs3844@ads.northwestern.edu::725c94ef-d051-42d7-9d33-8572765d592b" providerId="AD" clId="Web-{8544FFE2-8133-585B-66CC-2C8177C23087}" dt="2023-11-17T20:41:43.183" v="176"/>
          <ac:spMkLst>
            <pc:docMk/>
            <pc:sldMk cId="3080095507" sldId="703"/>
            <ac:spMk id="18" creationId="{6025D2DB-A12A-44DB-B00E-F4D622329EDD}"/>
          </ac:spMkLst>
        </pc:spChg>
        <pc:spChg chg="add ord">
          <ac:chgData name="Eileen Fleming Suse" userId="S::efs3844@ads.northwestern.edu::725c94ef-d051-42d7-9d33-8572765d592b" providerId="AD" clId="Web-{8544FFE2-8133-585B-66CC-2C8177C23087}" dt="2023-11-17T20:42:09.293" v="180"/>
          <ac:spMkLst>
            <pc:docMk/>
            <pc:sldMk cId="3080095507" sldId="703"/>
            <ac:spMk id="20" creationId="{CE7E7877-F64E-4EEA-B778-138031EFF874}"/>
          </ac:spMkLst>
        </pc:spChg>
        <pc:spChg chg="add">
          <ac:chgData name="Eileen Fleming Suse" userId="S::efs3844@ads.northwestern.edu::725c94ef-d051-42d7-9d33-8572765d592b" providerId="AD" clId="Web-{8544FFE2-8133-585B-66CC-2C8177C23087}" dt="2023-11-17T20:41:43.183" v="176"/>
          <ac:spMkLst>
            <pc:docMk/>
            <pc:sldMk cId="3080095507" sldId="703"/>
            <ac:spMk id="22" creationId="{7DD6C4F3-70FD-4F13-919C-702EE4886499}"/>
          </ac:spMkLst>
        </pc:spChg>
        <pc:picChg chg="add mod ord modCrop">
          <ac:chgData name="Eileen Fleming Suse" userId="S::efs3844@ads.northwestern.edu::725c94ef-d051-42d7-9d33-8572765d592b" providerId="AD" clId="Web-{8544FFE2-8133-585B-66CC-2C8177C23087}" dt="2023-11-17T20:45:10.439" v="205" actId="1076"/>
          <ac:picMkLst>
            <pc:docMk/>
            <pc:sldMk cId="3080095507" sldId="703"/>
            <ac:picMk id="6" creationId="{EF676F65-F32E-BCC1-B4AB-2FC96638BE9E}"/>
          </ac:picMkLst>
        </pc:picChg>
        <pc:picChg chg="add del mod">
          <ac:chgData name="Eileen Fleming Suse" userId="S::efs3844@ads.northwestern.edu::725c94ef-d051-42d7-9d33-8572765d592b" providerId="AD" clId="Web-{8544FFE2-8133-585B-66CC-2C8177C23087}" dt="2023-11-17T20:41:04.697" v="170"/>
          <ac:picMkLst>
            <pc:docMk/>
            <pc:sldMk cId="3080095507" sldId="703"/>
            <ac:picMk id="9" creationId="{7DEAA94B-259D-A0EF-A946-A0B85BC22F4E}"/>
          </ac:picMkLst>
        </pc:picChg>
        <pc:picChg chg="add mod ord">
          <ac:chgData name="Eileen Fleming Suse" userId="S::efs3844@ads.northwestern.edu::725c94ef-d051-42d7-9d33-8572765d592b" providerId="AD" clId="Web-{8544FFE2-8133-585B-66CC-2C8177C23087}" dt="2023-11-17T20:42:33.294" v="183" actId="1076"/>
          <ac:picMkLst>
            <pc:docMk/>
            <pc:sldMk cId="3080095507" sldId="703"/>
            <ac:picMk id="10" creationId="{1B456DB8-BA21-BAEA-F66C-46C6DD431168}"/>
          </ac:picMkLst>
        </pc:picChg>
        <pc:picChg chg="add mod">
          <ac:chgData name="Eileen Fleming Suse" userId="S::efs3844@ads.northwestern.edu::725c94ef-d051-42d7-9d33-8572765d592b" providerId="AD" clId="Web-{8544FFE2-8133-585B-66CC-2C8177C23087}" dt="2023-11-17T20:41:43.183" v="176"/>
          <ac:picMkLst>
            <pc:docMk/>
            <pc:sldMk cId="3080095507" sldId="703"/>
            <ac:picMk id="11" creationId="{E09D5B73-1671-B84D-6132-06E4A8E9E2DC}"/>
          </ac:picMkLst>
        </pc:picChg>
        <pc:picChg chg="add mod modCrop">
          <ac:chgData name="Eileen Fleming Suse" userId="S::efs3844@ads.northwestern.edu::725c94ef-d051-42d7-9d33-8572765d592b" providerId="AD" clId="Web-{8544FFE2-8133-585B-66CC-2C8177C23087}" dt="2023-11-17T20:45:10.392" v="204" actId="1076"/>
          <ac:picMkLst>
            <pc:docMk/>
            <pc:sldMk cId="3080095507" sldId="703"/>
            <ac:picMk id="13" creationId="{97F41871-076F-3542-7DCC-5CF58E271492}"/>
          </ac:picMkLst>
        </pc:picChg>
      </pc:sldChg>
      <pc:sldChg chg="new del">
        <pc:chgData name="Eileen Fleming Suse" userId="S::efs3844@ads.northwestern.edu::725c94ef-d051-42d7-9d33-8572765d592b" providerId="AD" clId="Web-{8544FFE2-8133-585B-66CC-2C8177C23087}" dt="2023-11-18T01:37:12.063" v="359"/>
        <pc:sldMkLst>
          <pc:docMk/>
          <pc:sldMk cId="506161772" sldId="704"/>
        </pc:sldMkLst>
      </pc:sldChg>
      <pc:sldChg chg="modSp new">
        <pc:chgData name="Eileen Fleming Suse" userId="S::efs3844@ads.northwestern.edu::725c94ef-d051-42d7-9d33-8572765d592b" providerId="AD" clId="Web-{8544FFE2-8133-585B-66CC-2C8177C23087}" dt="2023-11-17T20:36:20.330" v="162" actId="20577"/>
        <pc:sldMkLst>
          <pc:docMk/>
          <pc:sldMk cId="1949613945" sldId="705"/>
        </pc:sldMkLst>
        <pc:spChg chg="mod">
          <ac:chgData name="Eileen Fleming Suse" userId="S::efs3844@ads.northwestern.edu::725c94ef-d051-42d7-9d33-8572765d592b" providerId="AD" clId="Web-{8544FFE2-8133-585B-66CC-2C8177C23087}" dt="2023-11-17T20:36:20.330" v="162" actId="20577"/>
          <ac:spMkLst>
            <pc:docMk/>
            <pc:sldMk cId="1949613945" sldId="705"/>
            <ac:spMk id="2" creationId="{2DE9407A-4283-B111-345C-31D89DFF03A2}"/>
          </ac:spMkLst>
        </pc:spChg>
      </pc:sldChg>
      <pc:sldChg chg="add">
        <pc:chgData name="Eileen Fleming Suse" userId="S::efs3844@ads.northwestern.edu::725c94ef-d051-42d7-9d33-8572765d592b" providerId="AD" clId="Web-{8544FFE2-8133-585B-66CC-2C8177C23087}" dt="2023-11-17T20:16:14.374" v="52"/>
        <pc:sldMkLst>
          <pc:docMk/>
          <pc:sldMk cId="790635443" sldId="706"/>
        </pc:sldMkLst>
      </pc:sldChg>
      <pc:sldChg chg="add">
        <pc:chgData name="Eileen Fleming Suse" userId="S::efs3844@ads.northwestern.edu::725c94ef-d051-42d7-9d33-8572765d592b" providerId="AD" clId="Web-{8544FFE2-8133-585B-66CC-2C8177C23087}" dt="2023-11-17T20:16:42.468" v="53"/>
        <pc:sldMkLst>
          <pc:docMk/>
          <pc:sldMk cId="1643539557" sldId="707"/>
        </pc:sldMkLst>
      </pc:sldChg>
      <pc:sldChg chg="add">
        <pc:chgData name="Eileen Fleming Suse" userId="S::efs3844@ads.northwestern.edu::725c94ef-d051-42d7-9d33-8572765d592b" providerId="AD" clId="Web-{8544FFE2-8133-585B-66CC-2C8177C23087}" dt="2023-11-17T20:16:42.877" v="54"/>
        <pc:sldMkLst>
          <pc:docMk/>
          <pc:sldMk cId="1789754515" sldId="708"/>
        </pc:sldMkLst>
      </pc:sldChg>
      <pc:sldChg chg="add modNotes">
        <pc:chgData name="Eileen Fleming Suse" userId="S::efs3844@ads.northwestern.edu::725c94ef-d051-42d7-9d33-8572765d592b" providerId="AD" clId="Web-{8544FFE2-8133-585B-66CC-2C8177C23087}" dt="2023-11-17T20:24:06.200" v="93"/>
        <pc:sldMkLst>
          <pc:docMk/>
          <pc:sldMk cId="768417776" sldId="709"/>
        </pc:sldMkLst>
      </pc:sldChg>
      <pc:sldChg chg="add modNotes">
        <pc:chgData name="Eileen Fleming Suse" userId="S::efs3844@ads.northwestern.edu::725c94ef-d051-42d7-9d33-8572765d592b" providerId="AD" clId="Web-{8544FFE2-8133-585B-66CC-2C8177C23087}" dt="2023-11-17T20:24:05.934" v="91"/>
        <pc:sldMkLst>
          <pc:docMk/>
          <pc:sldMk cId="3734042619" sldId="710"/>
        </pc:sldMkLst>
      </pc:sldChg>
      <pc:sldChg chg="add modNotes">
        <pc:chgData name="Eileen Fleming Suse" userId="S::efs3844@ads.northwestern.edu::725c94ef-d051-42d7-9d33-8572765d592b" providerId="AD" clId="Web-{8544FFE2-8133-585B-66CC-2C8177C23087}" dt="2023-11-17T20:24:04.872" v="89"/>
        <pc:sldMkLst>
          <pc:docMk/>
          <pc:sldMk cId="3859034132" sldId="711"/>
        </pc:sldMkLst>
      </pc:sldChg>
      <pc:sldChg chg="add">
        <pc:chgData name="Eileen Fleming Suse" userId="S::efs3844@ads.northwestern.edu::725c94ef-d051-42d7-9d33-8572765d592b" providerId="AD" clId="Web-{8544FFE2-8133-585B-66CC-2C8177C23087}" dt="2023-11-17T20:17:06.391" v="58"/>
        <pc:sldMkLst>
          <pc:docMk/>
          <pc:sldMk cId="3139874353" sldId="712"/>
        </pc:sldMkLst>
      </pc:sldChg>
      <pc:sldChg chg="add">
        <pc:chgData name="Eileen Fleming Suse" userId="S::efs3844@ads.northwestern.edu::725c94ef-d051-42d7-9d33-8572765d592b" providerId="AD" clId="Web-{8544FFE2-8133-585B-66CC-2C8177C23087}" dt="2023-11-17T20:18:29.471" v="59"/>
        <pc:sldMkLst>
          <pc:docMk/>
          <pc:sldMk cId="4179369718" sldId="713"/>
        </pc:sldMkLst>
      </pc:sldChg>
      <pc:sldChg chg="addSp modSp new ord">
        <pc:chgData name="Eileen Fleming Suse" userId="S::efs3844@ads.northwestern.edu::725c94ef-d051-42d7-9d33-8572765d592b" providerId="AD" clId="Web-{8544FFE2-8133-585B-66CC-2C8177C23087}" dt="2023-11-17T20:22:07.009" v="73"/>
        <pc:sldMkLst>
          <pc:docMk/>
          <pc:sldMk cId="3124210322" sldId="714"/>
        </pc:sldMkLst>
        <pc:picChg chg="add mod">
          <ac:chgData name="Eileen Fleming Suse" userId="S::efs3844@ads.northwestern.edu::725c94ef-d051-42d7-9d33-8572765d592b" providerId="AD" clId="Web-{8544FFE2-8133-585B-66CC-2C8177C23087}" dt="2023-11-17T20:22:06.962" v="72" actId="1076"/>
          <ac:picMkLst>
            <pc:docMk/>
            <pc:sldMk cId="3124210322" sldId="714"/>
            <ac:picMk id="6" creationId="{9EE6AC8F-4DC4-191C-AA4C-B047F4935B19}"/>
          </ac:picMkLst>
        </pc:picChg>
      </pc:sldChg>
      <pc:sldChg chg="addSp modSp new ord">
        <pc:chgData name="Eileen Fleming Suse" userId="S::efs3844@ads.northwestern.edu::725c94ef-d051-42d7-9d33-8572765d592b" providerId="AD" clId="Web-{8544FFE2-8133-585B-66CC-2C8177C23087}" dt="2023-11-17T20:23:36.386" v="86" actId="20577"/>
        <pc:sldMkLst>
          <pc:docMk/>
          <pc:sldMk cId="4091814342" sldId="715"/>
        </pc:sldMkLst>
        <pc:spChg chg="mod">
          <ac:chgData name="Eileen Fleming Suse" userId="S::efs3844@ads.northwestern.edu::725c94ef-d051-42d7-9d33-8572765d592b" providerId="AD" clId="Web-{8544FFE2-8133-585B-66CC-2C8177C23087}" dt="2023-11-17T20:23:36.386" v="86" actId="20577"/>
          <ac:spMkLst>
            <pc:docMk/>
            <pc:sldMk cId="4091814342" sldId="715"/>
            <ac:spMk id="2" creationId="{8802BA79-C4E2-3A24-1316-4AC6D3F66837}"/>
          </ac:spMkLst>
        </pc:spChg>
        <pc:picChg chg="add mod">
          <ac:chgData name="Eileen Fleming Suse" userId="S::efs3844@ads.northwestern.edu::725c94ef-d051-42d7-9d33-8572765d592b" providerId="AD" clId="Web-{8544FFE2-8133-585B-66CC-2C8177C23087}" dt="2023-11-17T20:23:10.589" v="78" actId="1076"/>
          <ac:picMkLst>
            <pc:docMk/>
            <pc:sldMk cId="4091814342" sldId="715"/>
            <ac:picMk id="6" creationId="{302BBFF9-D69A-D1E9-E01C-7C15E1F6D1A6}"/>
          </ac:picMkLst>
        </pc:picChg>
      </pc:sldChg>
      <pc:sldChg chg="addSp delSp modSp new mod setBg modClrScheme chgLayout">
        <pc:chgData name="Eileen Fleming Suse" userId="S::efs3844@ads.northwestern.edu::725c94ef-d051-42d7-9d33-8572765d592b" providerId="AD" clId="Web-{8544FFE2-8133-585B-66CC-2C8177C23087}" dt="2023-11-17T20:35:43.141" v="150"/>
        <pc:sldMkLst>
          <pc:docMk/>
          <pc:sldMk cId="1219261171" sldId="716"/>
        </pc:sldMkLst>
        <pc:spChg chg="mod ord">
          <ac:chgData name="Eileen Fleming Suse" userId="S::efs3844@ads.northwestern.edu::725c94ef-d051-42d7-9d33-8572765d592b" providerId="AD" clId="Web-{8544FFE2-8133-585B-66CC-2C8177C23087}" dt="2023-11-17T20:35:43.141" v="150"/>
          <ac:spMkLst>
            <pc:docMk/>
            <pc:sldMk cId="1219261171" sldId="716"/>
            <ac:spMk id="2" creationId="{9CE5A4B0-542F-2C9E-8991-42C03138835F}"/>
          </ac:spMkLst>
        </pc:spChg>
        <pc:spChg chg="mod ord">
          <ac:chgData name="Eileen Fleming Suse" userId="S::efs3844@ads.northwestern.edu::725c94ef-d051-42d7-9d33-8572765d592b" providerId="AD" clId="Web-{8544FFE2-8133-585B-66CC-2C8177C23087}" dt="2023-11-17T20:35:43.141" v="150"/>
          <ac:spMkLst>
            <pc:docMk/>
            <pc:sldMk cId="1219261171" sldId="716"/>
            <ac:spMk id="3" creationId="{CEE04D07-E754-407A-AF01-3E961E5F8299}"/>
          </ac:spMkLst>
        </pc:spChg>
        <pc:spChg chg="add mod ord">
          <ac:chgData name="Eileen Fleming Suse" userId="S::efs3844@ads.northwestern.edu::725c94ef-d051-42d7-9d33-8572765d592b" providerId="AD" clId="Web-{8544FFE2-8133-585B-66CC-2C8177C23087}" dt="2023-11-17T20:35:43.141" v="150"/>
          <ac:spMkLst>
            <pc:docMk/>
            <pc:sldMk cId="1219261171" sldId="716"/>
            <ac:spMk id="4" creationId="{F75BEC83-D159-8B0F-F620-96A35FA5C767}"/>
          </ac:spMkLst>
        </pc:spChg>
        <pc:spChg chg="add del mod ord">
          <ac:chgData name="Eileen Fleming Suse" userId="S::efs3844@ads.northwestern.edu::725c94ef-d051-42d7-9d33-8572765d592b" providerId="AD" clId="Web-{8544FFE2-8133-585B-66CC-2C8177C23087}" dt="2023-11-17T20:35:43.141" v="150"/>
          <ac:spMkLst>
            <pc:docMk/>
            <pc:sldMk cId="1219261171" sldId="716"/>
            <ac:spMk id="5" creationId="{D88D8D55-7C2F-7D65-3250-A967B39A9B4A}"/>
          </ac:spMkLst>
        </pc:spChg>
        <pc:spChg chg="add">
          <ac:chgData name="Eileen Fleming Suse" userId="S::efs3844@ads.northwestern.edu::725c94ef-d051-42d7-9d33-8572765d592b" providerId="AD" clId="Web-{8544FFE2-8133-585B-66CC-2C8177C23087}" dt="2023-11-17T20:35:43.141" v="150"/>
          <ac:spMkLst>
            <pc:docMk/>
            <pc:sldMk cId="1219261171" sldId="716"/>
            <ac:spMk id="11" creationId="{BACC6370-2D7E-4714-9D71-7542949D7D5D}"/>
          </ac:spMkLst>
        </pc:spChg>
        <pc:spChg chg="add">
          <ac:chgData name="Eileen Fleming Suse" userId="S::efs3844@ads.northwestern.edu::725c94ef-d051-42d7-9d33-8572765d592b" providerId="AD" clId="Web-{8544FFE2-8133-585B-66CC-2C8177C23087}" dt="2023-11-17T20:35:43.141" v="150"/>
          <ac:spMkLst>
            <pc:docMk/>
            <pc:sldMk cId="1219261171" sldId="716"/>
            <ac:spMk id="13" creationId="{F68B3F68-107C-434F-AA38-110D5EA91B85}"/>
          </ac:spMkLst>
        </pc:spChg>
        <pc:spChg chg="add">
          <ac:chgData name="Eileen Fleming Suse" userId="S::efs3844@ads.northwestern.edu::725c94ef-d051-42d7-9d33-8572765d592b" providerId="AD" clId="Web-{8544FFE2-8133-585B-66CC-2C8177C23087}" dt="2023-11-17T20:35:43.141" v="150"/>
          <ac:spMkLst>
            <pc:docMk/>
            <pc:sldMk cId="1219261171" sldId="716"/>
            <ac:spMk id="15" creationId="{AAD0DBB9-1A4B-4391-81D4-CB19F9AB918A}"/>
          </ac:spMkLst>
        </pc:spChg>
        <pc:spChg chg="add">
          <ac:chgData name="Eileen Fleming Suse" userId="S::efs3844@ads.northwestern.edu::725c94ef-d051-42d7-9d33-8572765d592b" providerId="AD" clId="Web-{8544FFE2-8133-585B-66CC-2C8177C23087}" dt="2023-11-17T20:35:43.141" v="150"/>
          <ac:spMkLst>
            <pc:docMk/>
            <pc:sldMk cId="1219261171" sldId="716"/>
            <ac:spMk id="17" creationId="{063BBA22-50EA-4C4D-BE05-F1CE4E63AA56}"/>
          </ac:spMkLst>
        </pc:spChg>
        <pc:graphicFrameChg chg="add">
          <ac:chgData name="Eileen Fleming Suse" userId="S::efs3844@ads.northwestern.edu::725c94ef-d051-42d7-9d33-8572765d592b" providerId="AD" clId="Web-{8544FFE2-8133-585B-66CC-2C8177C23087}" dt="2023-11-17T20:35:43.141" v="150"/>
          <ac:graphicFrameMkLst>
            <pc:docMk/>
            <pc:sldMk cId="1219261171" sldId="716"/>
            <ac:graphicFrameMk id="7" creationId="{12C8E58B-812A-DA46-B1A6-90A0997A352B}"/>
          </ac:graphicFrameMkLst>
        </pc:graphicFrameChg>
      </pc:sldChg>
      <pc:sldChg chg="add del">
        <pc:chgData name="Eileen Fleming Suse" userId="S::efs3844@ads.northwestern.edu::725c94ef-d051-42d7-9d33-8572765d592b" providerId="AD" clId="Web-{8544FFE2-8133-585B-66CC-2C8177C23087}" dt="2023-11-17T20:58:42.665" v="284"/>
        <pc:sldMkLst>
          <pc:docMk/>
          <pc:sldMk cId="1437602570" sldId="717"/>
        </pc:sldMkLst>
      </pc:sldChg>
      <pc:sldChg chg="add">
        <pc:chgData name="Eileen Fleming Suse" userId="S::efs3844@ads.northwestern.edu::725c94ef-d051-42d7-9d33-8572765d592b" providerId="AD" clId="Web-{8544FFE2-8133-585B-66CC-2C8177C23087}" dt="2023-11-17T20:58:43.649" v="285"/>
        <pc:sldMkLst>
          <pc:docMk/>
          <pc:sldMk cId="4191050799" sldId="717"/>
        </pc:sldMkLst>
      </pc:sldChg>
      <pc:sldChg chg="add">
        <pc:chgData name="Eileen Fleming Suse" userId="S::efs3844@ads.northwestern.edu::725c94ef-d051-42d7-9d33-8572765d592b" providerId="AD" clId="Web-{8544FFE2-8133-585B-66CC-2C8177C23087}" dt="2023-11-17T20:58:44.571" v="286"/>
        <pc:sldMkLst>
          <pc:docMk/>
          <pc:sldMk cId="920926381" sldId="718"/>
        </pc:sldMkLst>
      </pc:sldChg>
      <pc:sldChg chg="add del">
        <pc:chgData name="Eileen Fleming Suse" userId="S::efs3844@ads.northwestern.edu::725c94ef-d051-42d7-9d33-8572765d592b" providerId="AD" clId="Web-{8544FFE2-8133-585B-66CC-2C8177C23087}" dt="2023-11-17T20:58:42.665" v="283"/>
        <pc:sldMkLst>
          <pc:docMk/>
          <pc:sldMk cId="3021507893" sldId="718"/>
        </pc:sldMkLst>
      </pc:sldChg>
      <pc:sldChg chg="add">
        <pc:chgData name="Eileen Fleming Suse" userId="S::efs3844@ads.northwestern.edu::725c94ef-d051-42d7-9d33-8572765d592b" providerId="AD" clId="Web-{8544FFE2-8133-585B-66CC-2C8177C23087}" dt="2023-11-17T20:58:45.696" v="287"/>
        <pc:sldMkLst>
          <pc:docMk/>
          <pc:sldMk cId="1181451199" sldId="719"/>
        </pc:sldMkLst>
      </pc:sldChg>
      <pc:sldChg chg="add del">
        <pc:chgData name="Eileen Fleming Suse" userId="S::efs3844@ads.northwestern.edu::725c94ef-d051-42d7-9d33-8572765d592b" providerId="AD" clId="Web-{8544FFE2-8133-585B-66CC-2C8177C23087}" dt="2023-11-17T20:58:42.665" v="282"/>
        <pc:sldMkLst>
          <pc:docMk/>
          <pc:sldMk cId="2458930477" sldId="719"/>
        </pc:sldMkLst>
      </pc:sldChg>
      <pc:sldChg chg="add">
        <pc:chgData name="Eileen Fleming Suse" userId="S::efs3844@ads.northwestern.edu::725c94ef-d051-42d7-9d33-8572765d592b" providerId="AD" clId="Web-{8544FFE2-8133-585B-66CC-2C8177C23087}" dt="2023-11-17T20:58:46.649" v="288"/>
        <pc:sldMkLst>
          <pc:docMk/>
          <pc:sldMk cId="102026260" sldId="720"/>
        </pc:sldMkLst>
      </pc:sldChg>
      <pc:sldChg chg="add del">
        <pc:chgData name="Eileen Fleming Suse" userId="S::efs3844@ads.northwestern.edu::725c94ef-d051-42d7-9d33-8572765d592b" providerId="AD" clId="Web-{8544FFE2-8133-585B-66CC-2C8177C23087}" dt="2023-11-17T20:58:42.665" v="281"/>
        <pc:sldMkLst>
          <pc:docMk/>
          <pc:sldMk cId="2619040630" sldId="720"/>
        </pc:sldMkLst>
      </pc:sldChg>
      <pc:sldChg chg="add del">
        <pc:chgData name="Eileen Fleming Suse" userId="S::efs3844@ads.northwestern.edu::725c94ef-d051-42d7-9d33-8572765d592b" providerId="AD" clId="Web-{8544FFE2-8133-585B-66CC-2C8177C23087}" dt="2023-11-17T20:58:42.665" v="280"/>
        <pc:sldMkLst>
          <pc:docMk/>
          <pc:sldMk cId="2098086206" sldId="721"/>
        </pc:sldMkLst>
      </pc:sldChg>
      <pc:sldChg chg="add">
        <pc:chgData name="Eileen Fleming Suse" userId="S::efs3844@ads.northwestern.edu::725c94ef-d051-42d7-9d33-8572765d592b" providerId="AD" clId="Web-{8544FFE2-8133-585B-66CC-2C8177C23087}" dt="2023-11-17T20:58:47.665" v="289"/>
        <pc:sldMkLst>
          <pc:docMk/>
          <pc:sldMk cId="4038851827" sldId="721"/>
        </pc:sldMkLst>
      </pc:sldChg>
      <pc:sldChg chg="add">
        <pc:chgData name="Eileen Fleming Suse" userId="S::efs3844@ads.northwestern.edu::725c94ef-d051-42d7-9d33-8572765d592b" providerId="AD" clId="Web-{8544FFE2-8133-585B-66CC-2C8177C23087}" dt="2023-11-17T20:58:48.712" v="290"/>
        <pc:sldMkLst>
          <pc:docMk/>
          <pc:sldMk cId="166818738" sldId="722"/>
        </pc:sldMkLst>
      </pc:sldChg>
      <pc:sldChg chg="add del">
        <pc:chgData name="Eileen Fleming Suse" userId="S::efs3844@ads.northwestern.edu::725c94ef-d051-42d7-9d33-8572765d592b" providerId="AD" clId="Web-{8544FFE2-8133-585B-66CC-2C8177C23087}" dt="2023-11-17T20:58:42.665" v="279"/>
        <pc:sldMkLst>
          <pc:docMk/>
          <pc:sldMk cId="3492088479" sldId="722"/>
        </pc:sldMkLst>
      </pc:sldChg>
      <pc:sldChg chg="add">
        <pc:chgData name="Eileen Fleming Suse" userId="S::efs3844@ads.northwestern.edu::725c94ef-d051-42d7-9d33-8572765d592b" providerId="AD" clId="Web-{8544FFE2-8133-585B-66CC-2C8177C23087}" dt="2023-11-17T20:58:49.743" v="291"/>
        <pc:sldMkLst>
          <pc:docMk/>
          <pc:sldMk cId="97208790" sldId="723"/>
        </pc:sldMkLst>
      </pc:sldChg>
      <pc:sldChg chg="add del">
        <pc:chgData name="Eileen Fleming Suse" userId="S::efs3844@ads.northwestern.edu::725c94ef-d051-42d7-9d33-8572765d592b" providerId="AD" clId="Web-{8544FFE2-8133-585B-66CC-2C8177C23087}" dt="2023-11-17T20:58:42.665" v="278"/>
        <pc:sldMkLst>
          <pc:docMk/>
          <pc:sldMk cId="2945055310" sldId="723"/>
        </pc:sldMkLst>
      </pc:sldChg>
      <pc:sldChg chg="add del">
        <pc:chgData name="Eileen Fleming Suse" userId="S::efs3844@ads.northwestern.edu::725c94ef-d051-42d7-9d33-8572765d592b" providerId="AD" clId="Web-{8544FFE2-8133-585B-66CC-2C8177C23087}" dt="2023-11-17T20:58:42.649" v="277"/>
        <pc:sldMkLst>
          <pc:docMk/>
          <pc:sldMk cId="725483926" sldId="724"/>
        </pc:sldMkLst>
      </pc:sldChg>
      <pc:sldChg chg="add">
        <pc:chgData name="Eileen Fleming Suse" userId="S::efs3844@ads.northwestern.edu::725c94ef-d051-42d7-9d33-8572765d592b" providerId="AD" clId="Web-{8544FFE2-8133-585B-66CC-2C8177C23087}" dt="2023-11-17T20:58:50.852" v="292"/>
        <pc:sldMkLst>
          <pc:docMk/>
          <pc:sldMk cId="2422191514" sldId="724"/>
        </pc:sldMkLst>
      </pc:sldChg>
      <pc:sldChg chg="add del">
        <pc:chgData name="Eileen Fleming Suse" userId="S::efs3844@ads.northwestern.edu::725c94ef-d051-42d7-9d33-8572765d592b" providerId="AD" clId="Web-{8544FFE2-8133-585B-66CC-2C8177C23087}" dt="2023-11-17T20:58:42.649" v="276"/>
        <pc:sldMkLst>
          <pc:docMk/>
          <pc:sldMk cId="2066878188" sldId="725"/>
        </pc:sldMkLst>
      </pc:sldChg>
      <pc:sldChg chg="add">
        <pc:chgData name="Eileen Fleming Suse" userId="S::efs3844@ads.northwestern.edu::725c94ef-d051-42d7-9d33-8572765d592b" providerId="AD" clId="Web-{8544FFE2-8133-585B-66CC-2C8177C23087}" dt="2023-11-17T20:58:51.868" v="293"/>
        <pc:sldMkLst>
          <pc:docMk/>
          <pc:sldMk cId="3458386910" sldId="725"/>
        </pc:sldMkLst>
      </pc:sldChg>
      <pc:sldChg chg="add del">
        <pc:chgData name="Eileen Fleming Suse" userId="S::efs3844@ads.northwestern.edu::725c94ef-d051-42d7-9d33-8572765d592b" providerId="AD" clId="Web-{8544FFE2-8133-585B-66CC-2C8177C23087}" dt="2023-11-17T20:58:42.649" v="275"/>
        <pc:sldMkLst>
          <pc:docMk/>
          <pc:sldMk cId="880761382" sldId="726"/>
        </pc:sldMkLst>
      </pc:sldChg>
      <pc:sldChg chg="add">
        <pc:chgData name="Eileen Fleming Suse" userId="S::efs3844@ads.northwestern.edu::725c94ef-d051-42d7-9d33-8572765d592b" providerId="AD" clId="Web-{8544FFE2-8133-585B-66CC-2C8177C23087}" dt="2023-11-17T20:58:53.087" v="294"/>
        <pc:sldMkLst>
          <pc:docMk/>
          <pc:sldMk cId="1390059426" sldId="726"/>
        </pc:sldMkLst>
      </pc:sldChg>
      <pc:sldChg chg="add del">
        <pc:chgData name="Eileen Fleming Suse" userId="S::efs3844@ads.northwestern.edu::725c94ef-d051-42d7-9d33-8572765d592b" providerId="AD" clId="Web-{8544FFE2-8133-585B-66CC-2C8177C23087}" dt="2023-11-17T20:58:42.649" v="274"/>
        <pc:sldMkLst>
          <pc:docMk/>
          <pc:sldMk cId="2780552259" sldId="727"/>
        </pc:sldMkLst>
      </pc:sldChg>
      <pc:sldChg chg="add">
        <pc:chgData name="Eileen Fleming Suse" userId="S::efs3844@ads.northwestern.edu::725c94ef-d051-42d7-9d33-8572765d592b" providerId="AD" clId="Web-{8544FFE2-8133-585B-66CC-2C8177C23087}" dt="2023-11-17T20:58:54.384" v="295"/>
        <pc:sldMkLst>
          <pc:docMk/>
          <pc:sldMk cId="3339906105" sldId="727"/>
        </pc:sldMkLst>
      </pc:sldChg>
      <pc:sldChg chg="add del">
        <pc:chgData name="Eileen Fleming Suse" userId="S::efs3844@ads.northwestern.edu::725c94ef-d051-42d7-9d33-8572765d592b" providerId="AD" clId="Web-{8544FFE2-8133-585B-66CC-2C8177C23087}" dt="2023-11-17T20:58:42.649" v="273"/>
        <pc:sldMkLst>
          <pc:docMk/>
          <pc:sldMk cId="183225558" sldId="728"/>
        </pc:sldMkLst>
      </pc:sldChg>
      <pc:sldChg chg="add">
        <pc:chgData name="Eileen Fleming Suse" userId="S::efs3844@ads.northwestern.edu::725c94ef-d051-42d7-9d33-8572765d592b" providerId="AD" clId="Web-{8544FFE2-8133-585B-66CC-2C8177C23087}" dt="2023-11-17T20:58:55.509" v="296"/>
        <pc:sldMkLst>
          <pc:docMk/>
          <pc:sldMk cId="2917591221" sldId="728"/>
        </pc:sldMkLst>
      </pc:sldChg>
      <pc:sldChg chg="add">
        <pc:chgData name="Eileen Fleming Suse" userId="S::efs3844@ads.northwestern.edu::725c94ef-d051-42d7-9d33-8572765d592b" providerId="AD" clId="Web-{8544FFE2-8133-585B-66CC-2C8177C23087}" dt="2023-11-17T20:58:56.759" v="297"/>
        <pc:sldMkLst>
          <pc:docMk/>
          <pc:sldMk cId="3429336150" sldId="729"/>
        </pc:sldMkLst>
      </pc:sldChg>
      <pc:sldChg chg="add del">
        <pc:chgData name="Eileen Fleming Suse" userId="S::efs3844@ads.northwestern.edu::725c94ef-d051-42d7-9d33-8572765d592b" providerId="AD" clId="Web-{8544FFE2-8133-585B-66CC-2C8177C23087}" dt="2023-11-17T20:58:42.649" v="272"/>
        <pc:sldMkLst>
          <pc:docMk/>
          <pc:sldMk cId="4172633609" sldId="729"/>
        </pc:sldMkLst>
      </pc:sldChg>
      <pc:sldChg chg="add">
        <pc:chgData name="Eileen Fleming Suse" userId="S::efs3844@ads.northwestern.edu::725c94ef-d051-42d7-9d33-8572765d592b" providerId="AD" clId="Web-{8544FFE2-8133-585B-66CC-2C8177C23087}" dt="2023-11-17T20:58:57.915" v="298"/>
        <pc:sldMkLst>
          <pc:docMk/>
          <pc:sldMk cId="1617559145" sldId="730"/>
        </pc:sldMkLst>
      </pc:sldChg>
      <pc:sldChg chg="add del">
        <pc:chgData name="Eileen Fleming Suse" userId="S::efs3844@ads.northwestern.edu::725c94ef-d051-42d7-9d33-8572765d592b" providerId="AD" clId="Web-{8544FFE2-8133-585B-66CC-2C8177C23087}" dt="2023-11-17T20:58:42.649" v="271"/>
        <pc:sldMkLst>
          <pc:docMk/>
          <pc:sldMk cId="3976055548" sldId="730"/>
        </pc:sldMkLst>
      </pc:sldChg>
      <pc:sldChg chg="add del">
        <pc:chgData name="Eileen Fleming Suse" userId="S::efs3844@ads.northwestern.edu::725c94ef-d051-42d7-9d33-8572765d592b" providerId="AD" clId="Web-{8544FFE2-8133-585B-66CC-2C8177C23087}" dt="2023-11-17T20:58:42.649" v="270"/>
        <pc:sldMkLst>
          <pc:docMk/>
          <pc:sldMk cId="2494894513" sldId="731"/>
        </pc:sldMkLst>
      </pc:sldChg>
      <pc:sldChg chg="add">
        <pc:chgData name="Eileen Fleming Suse" userId="S::efs3844@ads.northwestern.edu::725c94ef-d051-42d7-9d33-8572765d592b" providerId="AD" clId="Web-{8544FFE2-8133-585B-66CC-2C8177C23087}" dt="2023-11-17T20:58:58.978" v="299"/>
        <pc:sldMkLst>
          <pc:docMk/>
          <pc:sldMk cId="2888392633" sldId="731"/>
        </pc:sldMkLst>
      </pc:sldChg>
      <pc:sldChg chg="add">
        <pc:chgData name="Eileen Fleming Suse" userId="S::efs3844@ads.northwestern.edu::725c94ef-d051-42d7-9d33-8572765d592b" providerId="AD" clId="Web-{8544FFE2-8133-585B-66CC-2C8177C23087}" dt="2023-11-17T20:58:59.993" v="300"/>
        <pc:sldMkLst>
          <pc:docMk/>
          <pc:sldMk cId="1046854343" sldId="732"/>
        </pc:sldMkLst>
      </pc:sldChg>
      <pc:sldChg chg="add del">
        <pc:chgData name="Eileen Fleming Suse" userId="S::efs3844@ads.northwestern.edu::725c94ef-d051-42d7-9d33-8572765d592b" providerId="AD" clId="Web-{8544FFE2-8133-585B-66CC-2C8177C23087}" dt="2023-11-17T20:58:42.649" v="269"/>
        <pc:sldMkLst>
          <pc:docMk/>
          <pc:sldMk cId="1408081084" sldId="732"/>
        </pc:sldMkLst>
      </pc:sldChg>
      <pc:sldChg chg="add">
        <pc:chgData name="Eileen Fleming Suse" userId="S::efs3844@ads.northwestern.edu::725c94ef-d051-42d7-9d33-8572765d592b" providerId="AD" clId="Web-{8544FFE2-8133-585B-66CC-2C8177C23087}" dt="2023-11-17T20:59:01.025" v="301"/>
        <pc:sldMkLst>
          <pc:docMk/>
          <pc:sldMk cId="1800188643" sldId="733"/>
        </pc:sldMkLst>
      </pc:sldChg>
      <pc:sldChg chg="add del">
        <pc:chgData name="Eileen Fleming Suse" userId="S::efs3844@ads.northwestern.edu::725c94ef-d051-42d7-9d33-8572765d592b" providerId="AD" clId="Web-{8544FFE2-8133-585B-66CC-2C8177C23087}" dt="2023-11-17T20:58:42.633" v="268"/>
        <pc:sldMkLst>
          <pc:docMk/>
          <pc:sldMk cId="3415454204" sldId="733"/>
        </pc:sldMkLst>
      </pc:sldChg>
      <pc:sldChg chg="add del">
        <pc:chgData name="Eileen Fleming Suse" userId="S::efs3844@ads.northwestern.edu::725c94ef-d051-42d7-9d33-8572765d592b" providerId="AD" clId="Web-{8544FFE2-8133-585B-66CC-2C8177C23087}" dt="2023-11-17T20:58:42.633" v="267"/>
        <pc:sldMkLst>
          <pc:docMk/>
          <pc:sldMk cId="2901813020" sldId="734"/>
        </pc:sldMkLst>
      </pc:sldChg>
      <pc:sldChg chg="add">
        <pc:chgData name="Eileen Fleming Suse" userId="S::efs3844@ads.northwestern.edu::725c94ef-d051-42d7-9d33-8572765d592b" providerId="AD" clId="Web-{8544FFE2-8133-585B-66CC-2C8177C23087}" dt="2023-11-17T20:59:02.118" v="302"/>
        <pc:sldMkLst>
          <pc:docMk/>
          <pc:sldMk cId="2965389356" sldId="734"/>
        </pc:sldMkLst>
      </pc:sldChg>
      <pc:sldChg chg="add">
        <pc:chgData name="Eileen Fleming Suse" userId="S::efs3844@ads.northwestern.edu::725c94ef-d051-42d7-9d33-8572765d592b" providerId="AD" clId="Web-{8544FFE2-8133-585B-66CC-2C8177C23087}" dt="2023-11-17T20:59:03.040" v="303"/>
        <pc:sldMkLst>
          <pc:docMk/>
          <pc:sldMk cId="2012107243" sldId="735"/>
        </pc:sldMkLst>
      </pc:sldChg>
      <pc:sldChg chg="add del">
        <pc:chgData name="Eileen Fleming Suse" userId="S::efs3844@ads.northwestern.edu::725c94ef-d051-42d7-9d33-8572765d592b" providerId="AD" clId="Web-{8544FFE2-8133-585B-66CC-2C8177C23087}" dt="2023-11-17T20:58:42.633" v="266"/>
        <pc:sldMkLst>
          <pc:docMk/>
          <pc:sldMk cId="3503736368" sldId="735"/>
        </pc:sldMkLst>
      </pc:sldChg>
      <pc:sldChg chg="addSp delSp modSp new mod setBg">
        <pc:chgData name="Eileen Fleming Suse" userId="S::efs3844@ads.northwestern.edu::725c94ef-d051-42d7-9d33-8572765d592b" providerId="AD" clId="Web-{8544FFE2-8133-585B-66CC-2C8177C23087}" dt="2023-11-18T01:35:19.154" v="358"/>
        <pc:sldMkLst>
          <pc:docMk/>
          <pc:sldMk cId="1811019117" sldId="736"/>
        </pc:sldMkLst>
        <pc:spChg chg="mod">
          <ac:chgData name="Eileen Fleming Suse" userId="S::efs3844@ads.northwestern.edu::725c94ef-d051-42d7-9d33-8572765d592b" providerId="AD" clId="Web-{8544FFE2-8133-585B-66CC-2C8177C23087}" dt="2023-11-18T01:34:24.309" v="357"/>
          <ac:spMkLst>
            <pc:docMk/>
            <pc:sldMk cId="1811019117" sldId="736"/>
            <ac:spMk id="2" creationId="{EBCC4529-5171-41EF-E242-F4836E180A4C}"/>
          </ac:spMkLst>
        </pc:spChg>
        <pc:spChg chg="del mod">
          <ac:chgData name="Eileen Fleming Suse" userId="S::efs3844@ads.northwestern.edu::725c94ef-d051-42d7-9d33-8572765d592b" providerId="AD" clId="Web-{8544FFE2-8133-585B-66CC-2C8177C23087}" dt="2023-11-18T01:34:24.309" v="357"/>
          <ac:spMkLst>
            <pc:docMk/>
            <pc:sldMk cId="1811019117" sldId="736"/>
            <ac:spMk id="3" creationId="{A78DE4B8-B128-70E9-2028-E8A6182E7358}"/>
          </ac:spMkLst>
        </pc:spChg>
        <pc:spChg chg="mod">
          <ac:chgData name="Eileen Fleming Suse" userId="S::efs3844@ads.northwestern.edu::725c94ef-d051-42d7-9d33-8572765d592b" providerId="AD" clId="Web-{8544FFE2-8133-585B-66CC-2C8177C23087}" dt="2023-11-18T01:34:24.309" v="357"/>
          <ac:spMkLst>
            <pc:docMk/>
            <pc:sldMk cId="1811019117" sldId="736"/>
            <ac:spMk id="4" creationId="{B7FB3513-4113-97AC-358F-AD6038A13085}"/>
          </ac:spMkLst>
        </pc:spChg>
        <pc:spChg chg="mod">
          <ac:chgData name="Eileen Fleming Suse" userId="S::efs3844@ads.northwestern.edu::725c94ef-d051-42d7-9d33-8572765d592b" providerId="AD" clId="Web-{8544FFE2-8133-585B-66CC-2C8177C23087}" dt="2023-11-18T01:34:24.309" v="357"/>
          <ac:spMkLst>
            <pc:docMk/>
            <pc:sldMk cId="1811019117" sldId="736"/>
            <ac:spMk id="5" creationId="{100B16C8-06BE-BEDF-FCE3-9542B0274043}"/>
          </ac:spMkLst>
        </pc:spChg>
        <pc:spChg chg="add">
          <ac:chgData name="Eileen Fleming Suse" userId="S::efs3844@ads.northwestern.edu::725c94ef-d051-42d7-9d33-8572765d592b" providerId="AD" clId="Web-{8544FFE2-8133-585B-66CC-2C8177C23087}" dt="2023-11-18T01:34:24.309" v="357"/>
          <ac:spMkLst>
            <pc:docMk/>
            <pc:sldMk cId="1811019117" sldId="736"/>
            <ac:spMk id="11" creationId="{C5278130-DFE0-457B-8698-88DF69019DDE}"/>
          </ac:spMkLst>
        </pc:spChg>
        <pc:spChg chg="add">
          <ac:chgData name="Eileen Fleming Suse" userId="S::efs3844@ads.northwestern.edu::725c94ef-d051-42d7-9d33-8572765d592b" providerId="AD" clId="Web-{8544FFE2-8133-585B-66CC-2C8177C23087}" dt="2023-11-18T01:34:24.309" v="357"/>
          <ac:spMkLst>
            <pc:docMk/>
            <pc:sldMk cId="1811019117" sldId="736"/>
            <ac:spMk id="13" creationId="{2F99531B-1681-4D6E-BECB-18325B33A618}"/>
          </ac:spMkLst>
        </pc:spChg>
        <pc:spChg chg="add">
          <ac:chgData name="Eileen Fleming Suse" userId="S::efs3844@ads.northwestern.edu::725c94ef-d051-42d7-9d33-8572765d592b" providerId="AD" clId="Web-{8544FFE2-8133-585B-66CC-2C8177C23087}" dt="2023-11-18T01:34:24.309" v="357"/>
          <ac:spMkLst>
            <pc:docMk/>
            <pc:sldMk cId="1811019117" sldId="736"/>
            <ac:spMk id="15" creationId="{20344094-430A-400B-804B-910E696A1A90}"/>
          </ac:spMkLst>
        </pc:spChg>
        <pc:spChg chg="add">
          <ac:chgData name="Eileen Fleming Suse" userId="S::efs3844@ads.northwestern.edu::725c94ef-d051-42d7-9d33-8572765d592b" providerId="AD" clId="Web-{8544FFE2-8133-585B-66CC-2C8177C23087}" dt="2023-11-18T01:34:24.309" v="357"/>
          <ac:spMkLst>
            <pc:docMk/>
            <pc:sldMk cId="1811019117" sldId="736"/>
            <ac:spMk id="17" creationId="{453C67DF-7782-4E57-AB9B-F1B4811AD8FE}"/>
          </ac:spMkLst>
        </pc:spChg>
        <pc:graphicFrameChg chg="add modGraphic">
          <ac:chgData name="Eileen Fleming Suse" userId="S::efs3844@ads.northwestern.edu::725c94ef-d051-42d7-9d33-8572765d592b" providerId="AD" clId="Web-{8544FFE2-8133-585B-66CC-2C8177C23087}" dt="2023-11-18T01:35:19.154" v="358"/>
          <ac:graphicFrameMkLst>
            <pc:docMk/>
            <pc:sldMk cId="1811019117" sldId="736"/>
            <ac:graphicFrameMk id="7" creationId="{7A2359A2-13A0-13F8-9703-E546D92B0B98}"/>
          </ac:graphicFrameMkLst>
        </pc:graphicFrameChg>
        <pc:cxnChg chg="add">
          <ac:chgData name="Eileen Fleming Suse" userId="S::efs3844@ads.northwestern.edu::725c94ef-d051-42d7-9d33-8572765d592b" providerId="AD" clId="Web-{8544FFE2-8133-585B-66CC-2C8177C23087}" dt="2023-11-18T01:34:24.309" v="357"/>
          <ac:cxnSpMkLst>
            <pc:docMk/>
            <pc:sldMk cId="1811019117" sldId="736"/>
            <ac:cxnSpMk id="19" creationId="{B03A5AE3-BD30-455C-842B-7626C8BEF097}"/>
          </ac:cxnSpMkLst>
        </pc:cxnChg>
        <pc:cxnChg chg="add">
          <ac:chgData name="Eileen Fleming Suse" userId="S::efs3844@ads.northwestern.edu::725c94ef-d051-42d7-9d33-8572765d592b" providerId="AD" clId="Web-{8544FFE2-8133-585B-66CC-2C8177C23087}" dt="2023-11-18T01:34:24.309" v="357"/>
          <ac:cxnSpMkLst>
            <pc:docMk/>
            <pc:sldMk cId="1811019117" sldId="736"/>
            <ac:cxnSpMk id="21" creationId="{2DBECAA5-1F2D-470D-875C-8F2C2CA3E54B}"/>
          </ac:cxnSpMkLst>
        </pc:cxnChg>
      </pc:sldChg>
      <pc:sldChg chg="add">
        <pc:chgData name="Eileen Fleming Suse" userId="S::efs3844@ads.northwestern.edu::725c94ef-d051-42d7-9d33-8572765d592b" providerId="AD" clId="Web-{8544FFE2-8133-585B-66CC-2C8177C23087}" dt="2023-11-18T01:37:30.204" v="360"/>
        <pc:sldMkLst>
          <pc:docMk/>
          <pc:sldMk cId="1141813547" sldId="737"/>
        </pc:sldMkLst>
      </pc:sldChg>
      <pc:sldMasterChg chg="addSldLayout delSldLayout">
        <pc:chgData name="Eileen Fleming Suse" userId="S::efs3844@ads.northwestern.edu::725c94ef-d051-42d7-9d33-8572765d592b" providerId="AD" clId="Web-{8544FFE2-8133-585B-66CC-2C8177C23087}" dt="2023-11-17T20:58:42.633" v="266"/>
        <pc:sldMasterMkLst>
          <pc:docMk/>
          <pc:sldMasterMk cId="0" sldId="2147483648"/>
        </pc:sldMasterMkLst>
        <pc:sldLayoutChg chg="add del replId">
          <pc:chgData name="Eileen Fleming Suse" userId="S::efs3844@ads.northwestern.edu::725c94ef-d051-42d7-9d33-8572765d592b" providerId="AD" clId="Web-{8544FFE2-8133-585B-66CC-2C8177C23087}" dt="2023-11-17T20:58:42.633" v="266"/>
          <pc:sldLayoutMkLst>
            <pc:docMk/>
            <pc:sldMasterMk cId="0" sldId="2147483648"/>
            <pc:sldLayoutMk cId="2292398128" sldId="2147488080"/>
          </pc:sldLayoutMkLst>
        </pc:sldLayoutChg>
      </pc:sldMasterChg>
      <pc:sldMasterChg chg="addSldLayout">
        <pc:chgData name="Eileen Fleming Suse" userId="S::efs3844@ads.northwestern.edu::725c94ef-d051-42d7-9d33-8572765d592b" providerId="AD" clId="Web-{8544FFE2-8133-585B-66CC-2C8177C23087}" dt="2023-11-17T20:16:43.125" v="55"/>
        <pc:sldMasterMkLst>
          <pc:docMk/>
          <pc:sldMasterMk cId="3378073280" sldId="2147483756"/>
        </pc:sldMasterMkLst>
        <pc:sldLayoutChg chg="add replId">
          <pc:chgData name="Eileen Fleming Suse" userId="S::efs3844@ads.northwestern.edu::725c94ef-d051-42d7-9d33-8572765d592b" providerId="AD" clId="Web-{8544FFE2-8133-585B-66CC-2C8177C23087}" dt="2023-11-17T20:16:43.125" v="55"/>
          <pc:sldLayoutMkLst>
            <pc:docMk/>
            <pc:sldMasterMk cId="3378073280" sldId="2147483756"/>
            <pc:sldLayoutMk cId="3016851664" sldId="2147488079"/>
          </pc:sldLayoutMkLst>
        </pc:sldLayoutChg>
      </pc:sldMasterChg>
    </pc:docChg>
  </pc:docChgLst>
  <pc:docChgLst>
    <pc:chgData name="Alana Rivera" userId="S::arg3669@ads.northwestern.edu::fc8b707a-b7e9-4f2a-8d71-2d76819b7881" providerId="AD" clId="Web-{B4964270-B086-4309-6459-65EA28D1CB38}"/>
    <pc:docChg chg="delSld modSld">
      <pc:chgData name="Alana Rivera" userId="S::arg3669@ads.northwestern.edu::fc8b707a-b7e9-4f2a-8d71-2d76819b7881" providerId="AD" clId="Web-{B4964270-B086-4309-6459-65EA28D1CB38}" dt="2023-10-26T06:44:01.652" v="2"/>
      <pc:docMkLst>
        <pc:docMk/>
      </pc:docMkLst>
      <pc:sldChg chg="modSp">
        <pc:chgData name="Alana Rivera" userId="S::arg3669@ads.northwestern.edu::fc8b707a-b7e9-4f2a-8d71-2d76819b7881" providerId="AD" clId="Web-{B4964270-B086-4309-6459-65EA28D1CB38}" dt="2023-10-26T05:22:48.823" v="1" actId="14100"/>
        <pc:sldMkLst>
          <pc:docMk/>
          <pc:sldMk cId="2564870475" sldId="566"/>
        </pc:sldMkLst>
        <pc:spChg chg="mod">
          <ac:chgData name="Alana Rivera" userId="S::arg3669@ads.northwestern.edu::fc8b707a-b7e9-4f2a-8d71-2d76819b7881" providerId="AD" clId="Web-{B4964270-B086-4309-6459-65EA28D1CB38}" dt="2023-10-26T05:22:48.823" v="1" actId="14100"/>
          <ac:spMkLst>
            <pc:docMk/>
            <pc:sldMk cId="2564870475" sldId="566"/>
            <ac:spMk id="11" creationId="{00000000-0000-0000-0000-000000000000}"/>
          </ac:spMkLst>
        </pc:spChg>
      </pc:sldChg>
      <pc:sldChg chg="del">
        <pc:chgData name="Alana Rivera" userId="S::arg3669@ads.northwestern.edu::fc8b707a-b7e9-4f2a-8d71-2d76819b7881" providerId="AD" clId="Web-{B4964270-B086-4309-6459-65EA28D1CB38}" dt="2023-10-26T06:44:01.652" v="2"/>
        <pc:sldMkLst>
          <pc:docMk/>
          <pc:sldMk cId="4290994232" sldId="578"/>
        </pc:sldMkLst>
      </pc:sldChg>
    </pc:docChg>
  </pc:docChgLst>
  <pc:docChgLst>
    <pc:chgData name="Alana Rivera" userId="S::arg3669@ads.northwestern.edu::fc8b707a-b7e9-4f2a-8d71-2d76819b7881" providerId="AD" clId="Web-{FC194283-EEC6-0521-D05D-577D27A78776}"/>
    <pc:docChg chg="modSld">
      <pc:chgData name="Alana Rivera" userId="S::arg3669@ads.northwestern.edu::fc8b707a-b7e9-4f2a-8d71-2d76819b7881" providerId="AD" clId="Web-{FC194283-EEC6-0521-D05D-577D27A78776}" dt="2023-10-30T20:28:42.508" v="163" actId="20577"/>
      <pc:docMkLst>
        <pc:docMk/>
      </pc:docMkLst>
      <pc:sldChg chg="delCm">
        <pc:chgData name="Alana Rivera" userId="S::arg3669@ads.northwestern.edu::fc8b707a-b7e9-4f2a-8d71-2d76819b7881" providerId="AD" clId="Web-{FC194283-EEC6-0521-D05D-577D27A78776}" dt="2023-10-30T19:50:20.612" v="0"/>
        <pc:sldMkLst>
          <pc:docMk/>
          <pc:sldMk cId="3127921386" sldId="280"/>
        </pc:sldMkLst>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19:50:20.612" v="0"/>
              <pc2:cmMkLst xmlns:pc2="http://schemas.microsoft.com/office/powerpoint/2019/9/main/command">
                <pc:docMk/>
                <pc:sldMk cId="3127921386" sldId="280"/>
                <pc2:cmMk id="{78C9B980-2656-432B-BA11-07ACE79B211F}"/>
              </pc2:cmMkLst>
            </pc226:cmChg>
          </p:ext>
        </pc:extLst>
      </pc:sldChg>
      <pc:sldChg chg="modSp delCm">
        <pc:chgData name="Alana Rivera" userId="S::arg3669@ads.northwestern.edu::fc8b707a-b7e9-4f2a-8d71-2d76819b7881" providerId="AD" clId="Web-{FC194283-EEC6-0521-D05D-577D27A78776}" dt="2023-10-30T20:28:42.508" v="163" actId="20577"/>
        <pc:sldMkLst>
          <pc:docMk/>
          <pc:sldMk cId="4044691067" sldId="283"/>
        </pc:sldMkLst>
        <pc:spChg chg="mod">
          <ac:chgData name="Alana Rivera" userId="S::arg3669@ads.northwestern.edu::fc8b707a-b7e9-4f2a-8d71-2d76819b7881" providerId="AD" clId="Web-{FC194283-EEC6-0521-D05D-577D27A78776}" dt="2023-10-30T20:16:51.612" v="107" actId="14100"/>
          <ac:spMkLst>
            <pc:docMk/>
            <pc:sldMk cId="4044691067" sldId="283"/>
            <ac:spMk id="2" creationId="{00000000-0000-0000-0000-000000000000}"/>
          </ac:spMkLst>
        </pc:spChg>
        <pc:spChg chg="mod">
          <ac:chgData name="Alana Rivera" userId="S::arg3669@ads.northwestern.edu::fc8b707a-b7e9-4f2a-8d71-2d76819b7881" providerId="AD" clId="Web-{FC194283-EEC6-0521-D05D-577D27A78776}" dt="2023-10-30T20:28:42.508" v="163" actId="20577"/>
          <ac:spMkLst>
            <pc:docMk/>
            <pc:sldMk cId="4044691067" sldId="283"/>
            <ac:spMk id="3" creationId="{00000000-0000-0000-0000-000000000000}"/>
          </ac:spMkLst>
        </pc:spChg>
        <pc:spChg chg="mod">
          <ac:chgData name="Alana Rivera" userId="S::arg3669@ads.northwestern.edu::fc8b707a-b7e9-4f2a-8d71-2d76819b7881" providerId="AD" clId="Web-{FC194283-EEC6-0521-D05D-577D27A78776}" dt="2023-10-30T20:16:22.283" v="101" actId="1076"/>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20:25:18.096" v="146"/>
              <pc2:cmMkLst xmlns:pc2="http://schemas.microsoft.com/office/powerpoint/2019/9/main/command">
                <pc:docMk/>
                <pc:sldMk cId="4044691067" sldId="283"/>
                <pc2:cmMk id="{51D99AE4-D60E-4433-99C8-10E7EA141D41}"/>
              </pc2:cmMkLst>
            </pc226:cmChg>
          </p:ext>
        </pc:extLst>
      </pc:sldChg>
      <pc:sldChg chg="modSp">
        <pc:chgData name="Alana Rivera" userId="S::arg3669@ads.northwestern.edu::fc8b707a-b7e9-4f2a-8d71-2d76819b7881" providerId="AD" clId="Web-{FC194283-EEC6-0521-D05D-577D27A78776}" dt="2023-10-30T19:53:52.196" v="7"/>
        <pc:sldMkLst>
          <pc:docMk/>
          <pc:sldMk cId="3004937174" sldId="565"/>
        </pc:sldMkLst>
        <pc:spChg chg="mod">
          <ac:chgData name="Alana Rivera" userId="S::arg3669@ads.northwestern.edu::fc8b707a-b7e9-4f2a-8d71-2d76819b7881" providerId="AD" clId="Web-{FC194283-EEC6-0521-D05D-577D27A78776}" dt="2023-10-30T19:53:52.196" v="7"/>
          <ac:spMkLst>
            <pc:docMk/>
            <pc:sldMk cId="3004937174" sldId="565"/>
            <ac:spMk id="10" creationId="{00000000-0000-0000-0000-000000000000}"/>
          </ac:spMkLst>
        </pc:spChg>
      </pc:sldChg>
      <pc:sldChg chg="addSp modSp">
        <pc:chgData name="Alana Rivera" userId="S::arg3669@ads.northwestern.edu::fc8b707a-b7e9-4f2a-8d71-2d76819b7881" providerId="AD" clId="Web-{FC194283-EEC6-0521-D05D-577D27A78776}" dt="2023-10-30T20:04:05.402" v="58" actId="20577"/>
        <pc:sldMkLst>
          <pc:docMk/>
          <pc:sldMk cId="3419957415" sldId="577"/>
        </pc:sldMkLst>
        <pc:spChg chg="mod">
          <ac:chgData name="Alana Rivera" userId="S::arg3669@ads.northwestern.edu::fc8b707a-b7e9-4f2a-8d71-2d76819b7881" providerId="AD" clId="Web-{FC194283-EEC6-0521-D05D-577D27A78776}" dt="2023-10-30T20:04:05.402" v="58" actId="20577"/>
          <ac:spMkLst>
            <pc:docMk/>
            <pc:sldMk cId="3419957415" sldId="577"/>
            <ac:spMk id="51" creationId="{00000000-0000-0000-0000-000000000000}"/>
          </ac:spMkLst>
        </pc:spChg>
        <pc:spChg chg="mod">
          <ac:chgData name="Alana Rivera" userId="S::arg3669@ads.northwestern.edu::fc8b707a-b7e9-4f2a-8d71-2d76819b7881" providerId="AD" clId="Web-{FC194283-EEC6-0521-D05D-577D27A78776}" dt="2023-10-30T20:04:01.402" v="57" actId="20577"/>
          <ac:spMkLst>
            <pc:docMk/>
            <pc:sldMk cId="3419957415" sldId="577"/>
            <ac:spMk id="52" creationId="{00000000-0000-0000-0000-000000000000}"/>
          </ac:spMkLst>
        </pc:spChg>
        <pc:spChg chg="mod">
          <ac:chgData name="Alana Rivera" userId="S::arg3669@ads.northwestern.edu::fc8b707a-b7e9-4f2a-8d71-2d76819b7881" providerId="AD" clId="Web-{FC194283-EEC6-0521-D05D-577D27A78776}" dt="2023-10-30T20:03:58.183" v="55" actId="20577"/>
          <ac:spMkLst>
            <pc:docMk/>
            <pc:sldMk cId="3419957415" sldId="577"/>
            <ac:spMk id="53" creationId="{00000000-0000-0000-0000-000000000000}"/>
          </ac:spMkLst>
        </pc:spChg>
        <pc:spChg chg="mod">
          <ac:chgData name="Alana Rivera" userId="S::arg3669@ads.northwestern.edu::fc8b707a-b7e9-4f2a-8d71-2d76819b7881" providerId="AD" clId="Web-{FC194283-EEC6-0521-D05D-577D27A78776}" dt="2023-10-30T20:03:46.714" v="52" actId="14100"/>
          <ac:spMkLst>
            <pc:docMk/>
            <pc:sldMk cId="3419957415" sldId="577"/>
            <ac:spMk id="54" creationId="{00000000-0000-0000-0000-000000000000}"/>
          </ac:spMkLst>
        </pc:spChg>
        <pc:spChg chg="mod">
          <ac:chgData name="Alana Rivera" userId="S::arg3669@ads.northwestern.edu::fc8b707a-b7e9-4f2a-8d71-2d76819b7881" providerId="AD" clId="Web-{FC194283-EEC6-0521-D05D-577D27A78776}" dt="2023-10-30T20:03:53.511" v="54" actId="14100"/>
          <ac:spMkLst>
            <pc:docMk/>
            <pc:sldMk cId="3419957415" sldId="577"/>
            <ac:spMk id="57" creationId="{00000000-0000-0000-0000-000000000000}"/>
          </ac:spMkLst>
        </pc:spChg>
        <pc:spChg chg="mod">
          <ac:chgData name="Alana Rivera" userId="S::arg3669@ads.northwestern.edu::fc8b707a-b7e9-4f2a-8d71-2d76819b7881" providerId="AD" clId="Web-{FC194283-EEC6-0521-D05D-577D27A78776}" dt="2023-10-30T20:00:54.053" v="18" actId="20577"/>
          <ac:spMkLst>
            <pc:docMk/>
            <pc:sldMk cId="3419957415" sldId="577"/>
            <ac:spMk id="64" creationId="{CE06DA76-2516-7530-74D6-38D1B1FC6BFE}"/>
          </ac:spMkLst>
        </pc:spChg>
        <pc:spChg chg="add mod">
          <ac:chgData name="Alana Rivera" userId="S::arg3669@ads.northwestern.edu::fc8b707a-b7e9-4f2a-8d71-2d76819b7881" providerId="AD" clId="Web-{FC194283-EEC6-0521-D05D-577D27A78776}" dt="2023-10-30T20:01:02.834" v="20" actId="1076"/>
          <ac:spMkLst>
            <pc:docMk/>
            <pc:sldMk cId="3419957415" sldId="577"/>
            <ac:spMk id="65" creationId="{28CD4543-B35F-C7BE-C5DB-7DF0067C551A}"/>
          </ac:spMkLst>
        </pc:spChg>
      </pc:sldChg>
      <pc:sldChg chg="modSp">
        <pc:chgData name="Alana Rivera" userId="S::arg3669@ads.northwestern.edu::fc8b707a-b7e9-4f2a-8d71-2d76819b7881" providerId="AD" clId="Web-{FC194283-EEC6-0521-D05D-577D27A78776}" dt="2023-10-30T20:01:29.616" v="25" actId="20577"/>
        <pc:sldMkLst>
          <pc:docMk/>
          <pc:sldMk cId="785115983" sldId="578"/>
        </pc:sldMkLst>
        <pc:spChg chg="mod">
          <ac:chgData name="Alana Rivera" userId="S::arg3669@ads.northwestern.edu::fc8b707a-b7e9-4f2a-8d71-2d76819b7881" providerId="AD" clId="Web-{FC194283-EEC6-0521-D05D-577D27A78776}" dt="2023-10-30T20:01:24.991" v="22" actId="20577"/>
          <ac:spMkLst>
            <pc:docMk/>
            <pc:sldMk cId="785115983" sldId="578"/>
            <ac:spMk id="46" creationId="{00000000-0000-0000-0000-000000000000}"/>
          </ac:spMkLst>
        </pc:spChg>
        <pc:spChg chg="mod">
          <ac:chgData name="Alana Rivera" userId="S::arg3669@ads.northwestern.edu::fc8b707a-b7e9-4f2a-8d71-2d76819b7881" providerId="AD" clId="Web-{FC194283-EEC6-0521-D05D-577D27A78776}" dt="2023-10-30T20:01:29.616" v="25" actId="20577"/>
          <ac:spMkLst>
            <pc:docMk/>
            <pc:sldMk cId="785115983" sldId="578"/>
            <ac:spMk id="47" creationId="{00000000-0000-0000-0000-000000000000}"/>
          </ac:spMkLst>
        </pc:spChg>
        <pc:spChg chg="mod">
          <ac:chgData name="Alana Rivera" userId="S::arg3669@ads.northwestern.edu::fc8b707a-b7e9-4f2a-8d71-2d76819b7881" providerId="AD" clId="Web-{FC194283-EEC6-0521-D05D-577D27A78776}" dt="2023-10-30T20:01:28.257" v="24" actId="20577"/>
          <ac:spMkLst>
            <pc:docMk/>
            <pc:sldMk cId="785115983" sldId="578"/>
            <ac:spMk id="50" creationId="{00000000-0000-0000-0000-000000000000}"/>
          </ac:spMkLst>
        </pc:spChg>
      </pc:sldChg>
      <pc:sldChg chg="modSp">
        <pc:chgData name="Alana Rivera" userId="S::arg3669@ads.northwestern.edu::fc8b707a-b7e9-4f2a-8d71-2d76819b7881" providerId="AD" clId="Web-{FC194283-EEC6-0521-D05D-577D27A78776}" dt="2023-10-30T20:01:59.492" v="31"/>
        <pc:sldMkLst>
          <pc:docMk/>
          <pc:sldMk cId="3030449316" sldId="579"/>
        </pc:sldMkLst>
        <pc:spChg chg="mod">
          <ac:chgData name="Alana Rivera" userId="S::arg3669@ads.northwestern.edu::fc8b707a-b7e9-4f2a-8d71-2d76819b7881" providerId="AD" clId="Web-{FC194283-EEC6-0521-D05D-577D27A78776}" dt="2023-10-30T20:01:59.477" v="30"/>
          <ac:spMkLst>
            <pc:docMk/>
            <pc:sldMk cId="3030449316" sldId="579"/>
            <ac:spMk id="4" creationId="{00000000-0000-0000-0000-000000000000}"/>
          </ac:spMkLst>
        </pc:spChg>
        <pc:spChg chg="mod">
          <ac:chgData name="Alana Rivera" userId="S::arg3669@ads.northwestern.edu::fc8b707a-b7e9-4f2a-8d71-2d76819b7881" providerId="AD" clId="Web-{FC194283-EEC6-0521-D05D-577D27A78776}" dt="2023-10-30T20:01:59.492" v="31"/>
          <ac:spMkLst>
            <pc:docMk/>
            <pc:sldMk cId="3030449316" sldId="579"/>
            <ac:spMk id="5" creationId="{00000000-0000-0000-0000-000000000000}"/>
          </ac:spMkLst>
        </pc:spChg>
        <pc:spChg chg="mod">
          <ac:chgData name="Alana Rivera" userId="S::arg3669@ads.northwestern.edu::fc8b707a-b7e9-4f2a-8d71-2d76819b7881" providerId="AD" clId="Web-{FC194283-EEC6-0521-D05D-577D27A78776}" dt="2023-10-30T20:01:40.304" v="26" actId="20577"/>
          <ac:spMkLst>
            <pc:docMk/>
            <pc:sldMk cId="3030449316" sldId="579"/>
            <ac:spMk id="46" creationId="{00000000-0000-0000-0000-000000000000}"/>
          </ac:spMkLst>
        </pc:spChg>
        <pc:spChg chg="mod">
          <ac:chgData name="Alana Rivera" userId="S::arg3669@ads.northwestern.edu::fc8b707a-b7e9-4f2a-8d71-2d76819b7881" providerId="AD" clId="Web-{FC194283-EEC6-0521-D05D-577D27A78776}" dt="2023-10-30T20:01:50.039" v="29" actId="14100"/>
          <ac:spMkLst>
            <pc:docMk/>
            <pc:sldMk cId="3030449316" sldId="579"/>
            <ac:spMk id="47" creationId="{00000000-0000-0000-0000-000000000000}"/>
          </ac:spMkLst>
        </pc:spChg>
        <pc:spChg chg="mod">
          <ac:chgData name="Alana Rivera" userId="S::arg3669@ads.northwestern.edu::fc8b707a-b7e9-4f2a-8d71-2d76819b7881" providerId="AD" clId="Web-{FC194283-EEC6-0521-D05D-577D27A78776}" dt="2023-10-30T20:01:43.664" v="27" actId="20577"/>
          <ac:spMkLst>
            <pc:docMk/>
            <pc:sldMk cId="3030449316" sldId="579"/>
            <ac:spMk id="50" creationId="{00000000-0000-0000-0000-000000000000}"/>
          </ac:spMkLst>
        </pc:spChg>
      </pc:sldChg>
      <pc:sldChg chg="modSp">
        <pc:chgData name="Alana Rivera" userId="S::arg3669@ads.northwestern.edu::fc8b707a-b7e9-4f2a-8d71-2d76819b7881" providerId="AD" clId="Web-{FC194283-EEC6-0521-D05D-577D27A78776}" dt="2023-10-30T20:02:39.259" v="40" actId="20577"/>
        <pc:sldMkLst>
          <pc:docMk/>
          <pc:sldMk cId="4283907660" sldId="580"/>
        </pc:sldMkLst>
        <pc:spChg chg="mod">
          <ac:chgData name="Alana Rivera" userId="S::arg3669@ads.northwestern.edu::fc8b707a-b7e9-4f2a-8d71-2d76819b7881" providerId="AD" clId="Web-{FC194283-EEC6-0521-D05D-577D27A78776}" dt="2023-10-30T20:02:19.508" v="32"/>
          <ac:spMkLst>
            <pc:docMk/>
            <pc:sldMk cId="4283907660" sldId="580"/>
            <ac:spMk id="49" creationId="{00000000-0000-0000-0000-000000000000}"/>
          </ac:spMkLst>
        </pc:spChg>
        <pc:spChg chg="mod">
          <ac:chgData name="Alana Rivera" userId="S::arg3669@ads.northwestern.edu::fc8b707a-b7e9-4f2a-8d71-2d76819b7881" providerId="AD" clId="Web-{FC194283-EEC6-0521-D05D-577D27A78776}" dt="2023-10-30T20:02:19.540" v="33"/>
          <ac:spMkLst>
            <pc:docMk/>
            <pc:sldMk cId="4283907660" sldId="580"/>
            <ac:spMk id="50" creationId="{00000000-0000-0000-0000-000000000000}"/>
          </ac:spMkLst>
        </pc:spChg>
        <pc:spChg chg="mod">
          <ac:chgData name="Alana Rivera" userId="S::arg3669@ads.northwestern.edu::fc8b707a-b7e9-4f2a-8d71-2d76819b7881" providerId="AD" clId="Web-{FC194283-EEC6-0521-D05D-577D27A78776}" dt="2023-10-30T20:02:39.259" v="40" actId="20577"/>
          <ac:spMkLst>
            <pc:docMk/>
            <pc:sldMk cId="4283907660" sldId="580"/>
            <ac:spMk id="60" creationId="{00000000-0000-0000-0000-000000000000}"/>
          </ac:spMkLst>
        </pc:spChg>
        <pc:spChg chg="mod">
          <ac:chgData name="Alana Rivera" userId="S::arg3669@ads.northwestern.edu::fc8b707a-b7e9-4f2a-8d71-2d76819b7881" providerId="AD" clId="Web-{FC194283-EEC6-0521-D05D-577D27A78776}" dt="2023-10-30T20:02:32.149" v="38" actId="20577"/>
          <ac:spMkLst>
            <pc:docMk/>
            <pc:sldMk cId="4283907660" sldId="580"/>
            <ac:spMk id="61" creationId="{00000000-0000-0000-0000-000000000000}"/>
          </ac:spMkLst>
        </pc:spChg>
        <pc:spChg chg="mod">
          <ac:chgData name="Alana Rivera" userId="S::arg3669@ads.northwestern.edu::fc8b707a-b7e9-4f2a-8d71-2d76819b7881" providerId="AD" clId="Web-{FC194283-EEC6-0521-D05D-577D27A78776}" dt="2023-10-30T20:02:37.884" v="39" actId="20577"/>
          <ac:spMkLst>
            <pc:docMk/>
            <pc:sldMk cId="4283907660" sldId="580"/>
            <ac:spMk id="63" creationId="{00000000-0000-0000-0000-000000000000}"/>
          </ac:spMkLst>
        </pc:spChg>
        <pc:spChg chg="mod">
          <ac:chgData name="Alana Rivera" userId="S::arg3669@ads.northwestern.edu::fc8b707a-b7e9-4f2a-8d71-2d76819b7881" providerId="AD" clId="Web-{FC194283-EEC6-0521-D05D-577D27A78776}" dt="2023-10-30T20:02:28.790" v="37" actId="20577"/>
          <ac:spMkLst>
            <pc:docMk/>
            <pc:sldMk cId="4283907660" sldId="580"/>
            <ac:spMk id="64" creationId="{00000000-0000-0000-0000-000000000000}"/>
          </ac:spMkLst>
        </pc:spChg>
        <pc:spChg chg="mod">
          <ac:chgData name="Alana Rivera" userId="S::arg3669@ads.northwestern.edu::fc8b707a-b7e9-4f2a-8d71-2d76819b7881" providerId="AD" clId="Web-{FC194283-EEC6-0521-D05D-577D27A78776}" dt="2023-10-30T20:02:26.305" v="36" actId="20577"/>
          <ac:spMkLst>
            <pc:docMk/>
            <pc:sldMk cId="4283907660" sldId="580"/>
            <ac:spMk id="67" creationId="{00000000-0000-0000-0000-000000000000}"/>
          </ac:spMkLst>
        </pc:spChg>
        <pc:spChg chg="mod">
          <ac:chgData name="Alana Rivera" userId="S::arg3669@ads.northwestern.edu::fc8b707a-b7e9-4f2a-8d71-2d76819b7881" providerId="AD" clId="Web-{FC194283-EEC6-0521-D05D-577D27A78776}" dt="2023-10-30T20:02:25.024" v="35" actId="20577"/>
          <ac:spMkLst>
            <pc:docMk/>
            <pc:sldMk cId="4283907660" sldId="580"/>
            <ac:spMk id="68" creationId="{00000000-0000-0000-0000-000000000000}"/>
          </ac:spMkLst>
        </pc:spChg>
      </pc:sldChg>
      <pc:sldChg chg="addSp modSp">
        <pc:chgData name="Alana Rivera" userId="S::arg3669@ads.northwestern.edu::fc8b707a-b7e9-4f2a-8d71-2d76819b7881" providerId="AD" clId="Web-{FC194283-EEC6-0521-D05D-577D27A78776}" dt="2023-10-30T20:03:32.526" v="50" actId="20577"/>
        <pc:sldMkLst>
          <pc:docMk/>
          <pc:sldMk cId="3429940818" sldId="581"/>
        </pc:sldMkLst>
        <pc:spChg chg="mod">
          <ac:chgData name="Alana Rivera" userId="S::arg3669@ads.northwestern.edu::fc8b707a-b7e9-4f2a-8d71-2d76819b7881" providerId="AD" clId="Web-{FC194283-EEC6-0521-D05D-577D27A78776}" dt="2023-10-30T20:03:00.400" v="42"/>
          <ac:spMkLst>
            <pc:docMk/>
            <pc:sldMk cId="3429940818" sldId="581"/>
            <ac:spMk id="4" creationId="{00000000-0000-0000-0000-000000000000}"/>
          </ac:spMkLst>
        </pc:spChg>
        <pc:spChg chg="mod">
          <ac:chgData name="Alana Rivera" userId="S::arg3669@ads.northwestern.edu::fc8b707a-b7e9-4f2a-8d71-2d76819b7881" providerId="AD" clId="Web-{FC194283-EEC6-0521-D05D-577D27A78776}" dt="2023-10-30T20:03:00.432" v="43"/>
          <ac:spMkLst>
            <pc:docMk/>
            <pc:sldMk cId="3429940818" sldId="581"/>
            <ac:spMk id="5" creationId="{00000000-0000-0000-0000-000000000000}"/>
          </ac:spMkLst>
        </pc:spChg>
        <pc:spChg chg="mod">
          <ac:chgData name="Alana Rivera" userId="S::arg3669@ads.northwestern.edu::fc8b707a-b7e9-4f2a-8d71-2d76819b7881" providerId="AD" clId="Web-{FC194283-EEC6-0521-D05D-577D27A78776}" dt="2023-10-30T20:03:29.604" v="49" actId="20577"/>
          <ac:spMkLst>
            <pc:docMk/>
            <pc:sldMk cId="3429940818" sldId="581"/>
            <ac:spMk id="59" creationId="{00000000-0000-0000-0000-000000000000}"/>
          </ac:spMkLst>
        </pc:spChg>
        <pc:spChg chg="mod">
          <ac:chgData name="Alana Rivera" userId="S::arg3669@ads.northwestern.edu::fc8b707a-b7e9-4f2a-8d71-2d76819b7881" providerId="AD" clId="Web-{FC194283-EEC6-0521-D05D-577D27A78776}" dt="2023-10-30T20:03:32.526" v="50" actId="20577"/>
          <ac:spMkLst>
            <pc:docMk/>
            <pc:sldMk cId="3429940818" sldId="581"/>
            <ac:spMk id="63" creationId="{00000000-0000-0000-0000-000000000000}"/>
          </ac:spMkLst>
        </pc:spChg>
        <pc:spChg chg="mod">
          <ac:chgData name="Alana Rivera" userId="S::arg3669@ads.northwestern.edu::fc8b707a-b7e9-4f2a-8d71-2d76819b7881" providerId="AD" clId="Web-{FC194283-EEC6-0521-D05D-577D27A78776}" dt="2023-10-30T20:03:21.713" v="47" actId="20577"/>
          <ac:spMkLst>
            <pc:docMk/>
            <pc:sldMk cId="3429940818" sldId="581"/>
            <ac:spMk id="64" creationId="{00000000-0000-0000-0000-000000000000}"/>
          </ac:spMkLst>
        </pc:spChg>
        <pc:spChg chg="mod">
          <ac:chgData name="Alana Rivera" userId="S::arg3669@ads.northwestern.edu::fc8b707a-b7e9-4f2a-8d71-2d76819b7881" providerId="AD" clId="Web-{FC194283-EEC6-0521-D05D-577D27A78776}" dt="2023-10-30T20:03:24.745" v="48" actId="20577"/>
          <ac:spMkLst>
            <pc:docMk/>
            <pc:sldMk cId="3429940818" sldId="581"/>
            <ac:spMk id="67" creationId="{00000000-0000-0000-0000-000000000000}"/>
          </ac:spMkLst>
        </pc:spChg>
        <pc:spChg chg="mod">
          <ac:chgData name="Alana Rivera" userId="S::arg3669@ads.northwestern.edu::fc8b707a-b7e9-4f2a-8d71-2d76819b7881" providerId="AD" clId="Web-{FC194283-EEC6-0521-D05D-577D27A78776}" dt="2023-10-30T20:03:17.995" v="46" actId="1076"/>
          <ac:spMkLst>
            <pc:docMk/>
            <pc:sldMk cId="3429940818" sldId="581"/>
            <ac:spMk id="69" creationId="{00000000-0000-0000-0000-000000000000}"/>
          </ac:spMkLst>
        </pc:spChg>
        <pc:spChg chg="mod">
          <ac:chgData name="Alana Rivera" userId="S::arg3669@ads.northwestern.edu::fc8b707a-b7e9-4f2a-8d71-2d76819b7881" providerId="AD" clId="Web-{FC194283-EEC6-0521-D05D-577D27A78776}" dt="2023-10-30T20:02:56.338" v="41" actId="20577"/>
          <ac:spMkLst>
            <pc:docMk/>
            <pc:sldMk cId="3429940818" sldId="581"/>
            <ac:spMk id="70" creationId="{00000000-0000-0000-0000-000000000000}"/>
          </ac:spMkLst>
        </pc:spChg>
        <pc:spChg chg="mod">
          <ac:chgData name="Alana Rivera" userId="S::arg3669@ads.northwestern.edu::fc8b707a-b7e9-4f2a-8d71-2d76819b7881" providerId="AD" clId="Web-{FC194283-EEC6-0521-D05D-577D27A78776}" dt="2023-10-30T20:00:47.334" v="17" actId="20577"/>
          <ac:spMkLst>
            <pc:docMk/>
            <pc:sldMk cId="3429940818" sldId="581"/>
            <ac:spMk id="73" creationId="{1A989E17-799A-6415-ED4B-A44CCA00B657}"/>
          </ac:spMkLst>
        </pc:spChg>
        <pc:spChg chg="add mod">
          <ac:chgData name="Alana Rivera" userId="S::arg3669@ads.northwestern.edu::fc8b707a-b7e9-4f2a-8d71-2d76819b7881" providerId="AD" clId="Web-{FC194283-EEC6-0521-D05D-577D27A78776}" dt="2023-10-30T20:00:44.552" v="16" actId="1076"/>
          <ac:spMkLst>
            <pc:docMk/>
            <pc:sldMk cId="3429940818" sldId="581"/>
            <ac:spMk id="75" creationId="{20D2DCD7-9B15-FB75-E33B-CECC88A394B8}"/>
          </ac:spMkLst>
        </pc:spChg>
      </pc:sldChg>
      <pc:sldChg chg="modSp">
        <pc:chgData name="Alana Rivera" userId="S::arg3669@ads.northwestern.edu::fc8b707a-b7e9-4f2a-8d71-2d76819b7881" providerId="AD" clId="Web-{FC194283-EEC6-0521-D05D-577D27A78776}" dt="2023-10-30T19:54:28.463" v="13"/>
        <pc:sldMkLst>
          <pc:docMk/>
          <pc:sldMk cId="3850125703" sldId="622"/>
        </pc:sldMkLst>
        <pc:spChg chg="mod">
          <ac:chgData name="Alana Rivera" userId="S::arg3669@ads.northwestern.edu::fc8b707a-b7e9-4f2a-8d71-2d76819b7881" providerId="AD" clId="Web-{FC194283-EEC6-0521-D05D-577D27A78776}" dt="2023-10-30T19:54:13.603" v="8"/>
          <ac:spMkLst>
            <pc:docMk/>
            <pc:sldMk cId="3850125703" sldId="622"/>
            <ac:spMk id="43" creationId="{00000000-0000-0000-0000-000000000000}"/>
          </ac:spMkLst>
        </pc:spChg>
        <pc:spChg chg="mod">
          <ac:chgData name="Alana Rivera" userId="S::arg3669@ads.northwestern.edu::fc8b707a-b7e9-4f2a-8d71-2d76819b7881" providerId="AD" clId="Web-{FC194283-EEC6-0521-D05D-577D27A78776}" dt="2023-10-30T19:54:13.619" v="9"/>
          <ac:spMkLst>
            <pc:docMk/>
            <pc:sldMk cId="3850125703" sldId="622"/>
            <ac:spMk id="44" creationId="{00000000-0000-0000-0000-000000000000}"/>
          </ac:spMkLst>
        </pc:spChg>
        <pc:spChg chg="mod">
          <ac:chgData name="Alana Rivera" userId="S::arg3669@ads.northwestern.edu::fc8b707a-b7e9-4f2a-8d71-2d76819b7881" providerId="AD" clId="Web-{FC194283-EEC6-0521-D05D-577D27A78776}" dt="2023-10-30T19:54:28.463" v="13"/>
          <ac:spMkLst>
            <pc:docMk/>
            <pc:sldMk cId="3850125703" sldId="622"/>
            <ac:spMk id="46" creationId="{00000000-0000-0000-0000-000000000000}"/>
          </ac:spMkLst>
        </pc:spChg>
        <pc:spChg chg="mod">
          <ac:chgData name="Alana Rivera" userId="S::arg3669@ads.northwestern.edu::fc8b707a-b7e9-4f2a-8d71-2d76819b7881" providerId="AD" clId="Web-{FC194283-EEC6-0521-D05D-577D27A78776}" dt="2023-10-30T19:54:28.463" v="12"/>
          <ac:spMkLst>
            <pc:docMk/>
            <pc:sldMk cId="3850125703" sldId="622"/>
            <ac:spMk id="47" creationId="{00000000-0000-0000-0000-000000000000}"/>
          </ac:spMkLst>
        </pc:spChg>
        <pc:spChg chg="mod">
          <ac:chgData name="Alana Rivera" userId="S::arg3669@ads.northwestern.edu::fc8b707a-b7e9-4f2a-8d71-2d76819b7881" providerId="AD" clId="Web-{FC194283-EEC6-0521-D05D-577D27A78776}" dt="2023-10-30T19:53:22.024" v="4"/>
          <ac:spMkLst>
            <pc:docMk/>
            <pc:sldMk cId="3850125703" sldId="622"/>
            <ac:spMk id="49" creationId="{00000000-0000-0000-0000-000000000000}"/>
          </ac:spMkLst>
        </pc:spChg>
      </pc:sldChg>
    </pc:docChg>
  </pc:docChgLst>
  <pc:docChgLst>
    <pc:chgData name="Alana Rivera" userId="S::arg3669@ads.northwestern.edu::fc8b707a-b7e9-4f2a-8d71-2d76819b7881" providerId="AD" clId="Web-{300BD813-CD9C-8649-0637-C0ACE24151DD}"/>
    <pc:docChg chg="addSld delSld modSld sldOrd">
      <pc:chgData name="Alana Rivera" userId="S::arg3669@ads.northwestern.edu::fc8b707a-b7e9-4f2a-8d71-2d76819b7881" providerId="AD" clId="Web-{300BD813-CD9C-8649-0637-C0ACE24151DD}" dt="2023-10-26T17:23:46.185" v="32" actId="20577"/>
      <pc:docMkLst>
        <pc:docMk/>
      </pc:docMkLst>
      <pc:sldChg chg="del">
        <pc:chgData name="Alana Rivera" userId="S::arg3669@ads.northwestern.edu::fc8b707a-b7e9-4f2a-8d71-2d76819b7881" providerId="AD" clId="Web-{300BD813-CD9C-8649-0637-C0ACE24151DD}" dt="2023-10-26T17:18:35.956" v="18"/>
        <pc:sldMkLst>
          <pc:docMk/>
          <pc:sldMk cId="2997078466" sldId="557"/>
        </pc:sldMkLst>
      </pc:sldChg>
      <pc:sldChg chg="add del ord">
        <pc:chgData name="Alana Rivera" userId="S::arg3669@ads.northwestern.edu::fc8b707a-b7e9-4f2a-8d71-2d76819b7881" providerId="AD" clId="Web-{300BD813-CD9C-8649-0637-C0ACE24151DD}" dt="2023-10-26T17:21:29.055" v="25"/>
        <pc:sldMkLst>
          <pc:docMk/>
          <pc:sldMk cId="2564870475" sldId="566"/>
        </pc:sldMkLst>
      </pc:sldChg>
      <pc:sldChg chg="add del ord">
        <pc:chgData name="Alana Rivera" userId="S::arg3669@ads.northwestern.edu::fc8b707a-b7e9-4f2a-8d71-2d76819b7881" providerId="AD" clId="Web-{300BD813-CD9C-8649-0637-C0ACE24151DD}" dt="2023-10-26T17:21:29.055" v="24"/>
        <pc:sldMkLst>
          <pc:docMk/>
          <pc:sldMk cId="3419957415" sldId="577"/>
        </pc:sldMkLst>
      </pc:sldChg>
      <pc:sldChg chg="add">
        <pc:chgData name="Alana Rivera" userId="S::arg3669@ads.northwestern.edu::fc8b707a-b7e9-4f2a-8d71-2d76819b7881" providerId="AD" clId="Web-{300BD813-CD9C-8649-0637-C0ACE24151DD}" dt="2023-10-26T17:04:53.337" v="0"/>
        <pc:sldMkLst>
          <pc:docMk/>
          <pc:sldMk cId="785115983" sldId="578"/>
        </pc:sldMkLst>
      </pc:sldChg>
      <pc:sldChg chg="add">
        <pc:chgData name="Alana Rivera" userId="S::arg3669@ads.northwestern.edu::fc8b707a-b7e9-4f2a-8d71-2d76819b7881" providerId="AD" clId="Web-{300BD813-CD9C-8649-0637-C0ACE24151DD}" dt="2023-10-26T17:04:54.196" v="1"/>
        <pc:sldMkLst>
          <pc:docMk/>
          <pc:sldMk cId="3030449316" sldId="579"/>
        </pc:sldMkLst>
      </pc:sldChg>
      <pc:sldChg chg="add">
        <pc:chgData name="Alana Rivera" userId="S::arg3669@ads.northwestern.edu::fc8b707a-b7e9-4f2a-8d71-2d76819b7881" providerId="AD" clId="Web-{300BD813-CD9C-8649-0637-C0ACE24151DD}" dt="2023-10-26T17:04:56.431" v="2"/>
        <pc:sldMkLst>
          <pc:docMk/>
          <pc:sldMk cId="4283907660" sldId="580"/>
        </pc:sldMkLst>
      </pc:sldChg>
      <pc:sldChg chg="add">
        <pc:chgData name="Alana Rivera" userId="S::arg3669@ads.northwestern.edu::fc8b707a-b7e9-4f2a-8d71-2d76819b7881" providerId="AD" clId="Web-{300BD813-CD9C-8649-0637-C0ACE24151DD}" dt="2023-10-26T17:04:59.978" v="3"/>
        <pc:sldMkLst>
          <pc:docMk/>
          <pc:sldMk cId="3429940818" sldId="581"/>
        </pc:sldMkLst>
      </pc:sldChg>
      <pc:sldChg chg="add">
        <pc:chgData name="Alana Rivera" userId="S::arg3669@ads.northwestern.edu::fc8b707a-b7e9-4f2a-8d71-2d76819b7881" providerId="AD" clId="Web-{300BD813-CD9C-8649-0637-C0ACE24151DD}" dt="2023-10-26T17:05:01.665" v="4"/>
        <pc:sldMkLst>
          <pc:docMk/>
          <pc:sldMk cId="4156128006" sldId="582"/>
        </pc:sldMkLst>
      </pc:sldChg>
      <pc:sldChg chg="modSp add">
        <pc:chgData name="Alana Rivera" userId="S::arg3669@ads.northwestern.edu::fc8b707a-b7e9-4f2a-8d71-2d76819b7881" providerId="AD" clId="Web-{300BD813-CD9C-8649-0637-C0ACE24151DD}" dt="2023-10-26T17:23:46.185" v="32" actId="20577"/>
        <pc:sldMkLst>
          <pc:docMk/>
          <pc:sldMk cId="3870927286" sldId="583"/>
        </pc:sldMkLst>
        <pc:spChg chg="mod">
          <ac:chgData name="Alana Rivera" userId="S::arg3669@ads.northwestern.edu::fc8b707a-b7e9-4f2a-8d71-2d76819b7881" providerId="AD" clId="Web-{300BD813-CD9C-8649-0637-C0ACE24151DD}" dt="2023-10-26T17:23:46.185" v="32" actId="20577"/>
          <ac:spMkLst>
            <pc:docMk/>
            <pc:sldMk cId="3870927286" sldId="583"/>
            <ac:spMk id="2" creationId="{00000000-0000-0000-0000-000000000000}"/>
          </ac:spMkLst>
        </pc:spChg>
        <pc:spChg chg="mod">
          <ac:chgData name="Alana Rivera" userId="S::arg3669@ads.northwestern.edu::fc8b707a-b7e9-4f2a-8d71-2d76819b7881" providerId="AD" clId="Web-{300BD813-CD9C-8649-0637-C0ACE24151DD}" dt="2023-10-26T17:18:03.096" v="14" actId="14100"/>
          <ac:spMkLst>
            <pc:docMk/>
            <pc:sldMk cId="3870927286" sldId="583"/>
            <ac:spMk id="13" creationId="{00000000-0000-0000-0000-000000000000}"/>
          </ac:spMkLst>
        </pc:spChg>
        <pc:spChg chg="mod">
          <ac:chgData name="Alana Rivera" userId="S::arg3669@ads.northwestern.edu::fc8b707a-b7e9-4f2a-8d71-2d76819b7881" providerId="AD" clId="Web-{300BD813-CD9C-8649-0637-C0ACE24151DD}" dt="2023-10-26T17:18:12.878" v="15" actId="1076"/>
          <ac:spMkLst>
            <pc:docMk/>
            <pc:sldMk cId="3870927286" sldId="583"/>
            <ac:spMk id="40" creationId="{00000000-0000-0000-0000-000000000000}"/>
          </ac:spMkLst>
        </pc:spChg>
        <pc:grpChg chg="mod">
          <ac:chgData name="Alana Rivera" userId="S::arg3669@ads.northwestern.edu::fc8b707a-b7e9-4f2a-8d71-2d76819b7881" providerId="AD" clId="Web-{300BD813-CD9C-8649-0637-C0ACE24151DD}" dt="2023-10-26T17:18:02.987" v="13" actId="14100"/>
          <ac:grpSpMkLst>
            <pc:docMk/>
            <pc:sldMk cId="3870927286" sldId="583"/>
            <ac:grpSpMk id="6" creationId="{00000000-0000-0000-0000-000000000000}"/>
          </ac:grpSpMkLst>
        </pc:grpChg>
        <pc:grpChg chg="mod">
          <ac:chgData name="Alana Rivera" userId="S::arg3669@ads.northwestern.edu::fc8b707a-b7e9-4f2a-8d71-2d76819b7881" providerId="AD" clId="Web-{300BD813-CD9C-8649-0637-C0ACE24151DD}" dt="2023-10-26T17:18:22.550" v="17" actId="14100"/>
          <ac:grpSpMkLst>
            <pc:docMk/>
            <pc:sldMk cId="3870927286" sldId="583"/>
            <ac:grpSpMk id="15" creationId="{00000000-0000-0000-0000-000000000000}"/>
          </ac:grpSpMkLst>
        </pc:grpChg>
        <pc:grpChg chg="mod">
          <ac:chgData name="Alana Rivera" userId="S::arg3669@ads.northwestern.edu::fc8b707a-b7e9-4f2a-8d71-2d76819b7881" providerId="AD" clId="Web-{300BD813-CD9C-8649-0637-C0ACE24151DD}" dt="2023-10-26T17:17:40.751" v="10" actId="14100"/>
          <ac:grpSpMkLst>
            <pc:docMk/>
            <pc:sldMk cId="3870927286" sldId="583"/>
            <ac:grpSpMk id="33" creationId="{00000000-0000-0000-0000-000000000000}"/>
          </ac:grpSpMkLst>
        </pc:grpChg>
      </pc:sldChg>
      <pc:sldChg chg="add">
        <pc:chgData name="Alana Rivera" userId="S::arg3669@ads.northwestern.edu::fc8b707a-b7e9-4f2a-8d71-2d76819b7881" providerId="AD" clId="Web-{300BD813-CD9C-8649-0637-C0ACE24151DD}" dt="2023-10-26T17:18:48.004" v="19"/>
        <pc:sldMkLst>
          <pc:docMk/>
          <pc:sldMk cId="3573947264" sldId="584"/>
        </pc:sldMkLst>
      </pc:sldChg>
    </pc:docChg>
  </pc:docChgLst>
  <pc:docChgLst>
    <pc:chgData name="Eileen Fleming Suse" userId="S::efs3844@ads.northwestern.edu::725c94ef-d051-42d7-9d33-8572765d592b" providerId="AD" clId="Web-{61DCECB8-FCC4-463F-180A-DE94BEA715D4}"/>
    <pc:docChg chg="addSld delSld modSld">
      <pc:chgData name="Eileen Fleming Suse" userId="S::efs3844@ads.northwestern.edu::725c94ef-d051-42d7-9d33-8572765d592b" providerId="AD" clId="Web-{61DCECB8-FCC4-463F-180A-DE94BEA715D4}" dt="2023-10-30T22:49:41.685" v="398" actId="20577"/>
      <pc:docMkLst>
        <pc:docMk/>
      </pc:docMkLst>
      <pc:sldChg chg="modSp">
        <pc:chgData name="Eileen Fleming Suse" userId="S::efs3844@ads.northwestern.edu::725c94ef-d051-42d7-9d33-8572765d592b" providerId="AD" clId="Web-{61DCECB8-FCC4-463F-180A-DE94BEA715D4}" dt="2023-10-30T20:17:56.590" v="268" actId="1076"/>
        <pc:sldMkLst>
          <pc:docMk/>
          <pc:sldMk cId="4044691067" sldId="283"/>
        </pc:sldMkLst>
        <pc:spChg chg="mod">
          <ac:chgData name="Eileen Fleming Suse" userId="S::efs3844@ads.northwestern.edu::725c94ef-d051-42d7-9d33-8572765d592b" providerId="AD" clId="Web-{61DCECB8-FCC4-463F-180A-DE94BEA715D4}" dt="2023-10-30T20:17:22.746" v="261" actId="1076"/>
          <ac:spMkLst>
            <pc:docMk/>
            <pc:sldMk cId="4044691067" sldId="283"/>
            <ac:spMk id="2" creationId="{00000000-0000-0000-0000-000000000000}"/>
          </ac:spMkLst>
        </pc:spChg>
        <pc:spChg chg="mod">
          <ac:chgData name="Eileen Fleming Suse" userId="S::efs3844@ads.northwestern.edu::725c94ef-d051-42d7-9d33-8572765d592b" providerId="AD" clId="Web-{61DCECB8-FCC4-463F-180A-DE94BEA715D4}" dt="2023-10-30T20:17:54.262" v="267" actId="20577"/>
          <ac:spMkLst>
            <pc:docMk/>
            <pc:sldMk cId="4044691067" sldId="283"/>
            <ac:spMk id="3" creationId="{00000000-0000-0000-0000-000000000000}"/>
          </ac:spMkLst>
        </pc:spChg>
        <pc:spChg chg="mod">
          <ac:chgData name="Eileen Fleming Suse" userId="S::efs3844@ads.northwestern.edu::725c94ef-d051-42d7-9d33-8572765d592b" providerId="AD" clId="Web-{61DCECB8-FCC4-463F-180A-DE94BEA715D4}" dt="2023-10-30T20:17:56.590" v="268" actId="1076"/>
          <ac:spMkLst>
            <pc:docMk/>
            <pc:sldMk cId="4044691067" sldId="283"/>
            <ac:spMk id="16387" creationId="{00000000-0000-0000-0000-000000000000}"/>
          </ac:spMkLst>
        </pc:spChg>
      </pc:sldChg>
      <pc:sldChg chg="addSp delSp modSp del">
        <pc:chgData name="Eileen Fleming Suse" userId="S::efs3844@ads.northwestern.edu::725c94ef-d051-42d7-9d33-8572765d592b" providerId="AD" clId="Web-{61DCECB8-FCC4-463F-180A-DE94BEA715D4}" dt="2023-10-30T22:38:32.619" v="293"/>
        <pc:sldMkLst>
          <pc:docMk/>
          <pc:sldMk cId="2351229145" sldId="544"/>
        </pc:sldMkLst>
        <pc:spChg chg="add del mod">
          <ac:chgData name="Eileen Fleming Suse" userId="S::efs3844@ads.northwestern.edu::725c94ef-d051-42d7-9d33-8572765d592b" providerId="AD" clId="Web-{61DCECB8-FCC4-463F-180A-DE94BEA715D4}" dt="2023-10-30T20:36:38.882" v="271"/>
          <ac:spMkLst>
            <pc:docMk/>
            <pc:sldMk cId="2351229145" sldId="544"/>
            <ac:spMk id="4" creationId="{30128E86-7FC0-DAF8-2B3B-BC30C65B2BC6}"/>
          </ac:spMkLst>
        </pc:spChg>
      </pc:sldChg>
      <pc:sldChg chg="addSp delSp modSp mod setBg">
        <pc:chgData name="Eileen Fleming Suse" userId="S::efs3844@ads.northwestern.edu::725c94ef-d051-42d7-9d33-8572765d592b" providerId="AD" clId="Web-{61DCECB8-FCC4-463F-180A-DE94BEA715D4}" dt="2023-10-30T22:41:05.686" v="304"/>
        <pc:sldMkLst>
          <pc:docMk/>
          <pc:sldMk cId="3635595752" sldId="545"/>
        </pc:sldMkLst>
        <pc:spChg chg="mod">
          <ac:chgData name="Eileen Fleming Suse" userId="S::efs3844@ads.northwestern.edu::725c94ef-d051-42d7-9d33-8572765d592b" providerId="AD" clId="Web-{61DCECB8-FCC4-463F-180A-DE94BEA715D4}" dt="2023-10-30T22:40:13.497" v="300"/>
          <ac:spMkLst>
            <pc:docMk/>
            <pc:sldMk cId="3635595752" sldId="545"/>
            <ac:spMk id="2" creationId="{39AAB3FF-760A-B654-5F1B-78AD5BEB6B57}"/>
          </ac:spMkLst>
        </pc:spChg>
        <pc:spChg chg="mod">
          <ac:chgData name="Eileen Fleming Suse" userId="S::efs3844@ads.northwestern.edu::725c94ef-d051-42d7-9d33-8572765d592b" providerId="AD" clId="Web-{61DCECB8-FCC4-463F-180A-DE94BEA715D4}" dt="2023-10-30T22:40:13.497" v="300"/>
          <ac:spMkLst>
            <pc:docMk/>
            <pc:sldMk cId="3635595752" sldId="545"/>
            <ac:spMk id="3" creationId="{BFE56240-A306-0E11-425A-7323821A42F2}"/>
          </ac:spMkLst>
        </pc:spChg>
        <pc:spChg chg="add">
          <ac:chgData name="Eileen Fleming Suse" userId="S::efs3844@ads.northwestern.edu::725c94ef-d051-42d7-9d33-8572765d592b" providerId="AD" clId="Web-{61DCECB8-FCC4-463F-180A-DE94BEA715D4}" dt="2023-10-30T22:40:13.497" v="300"/>
          <ac:spMkLst>
            <pc:docMk/>
            <pc:sldMk cId="3635595752" sldId="545"/>
            <ac:spMk id="9" creationId="{4FA4E651-C3D8-4DB8-A026-E8531C6AFACC}"/>
          </ac:spMkLst>
        </pc:spChg>
        <pc:picChg chg="add mod">
          <ac:chgData name="Eileen Fleming Suse" userId="S::efs3844@ads.northwestern.edu::725c94ef-d051-42d7-9d33-8572765d592b" providerId="AD" clId="Web-{61DCECB8-FCC4-463F-180A-DE94BEA715D4}" dt="2023-10-30T22:40:13.497" v="300"/>
          <ac:picMkLst>
            <pc:docMk/>
            <pc:sldMk cId="3635595752" sldId="545"/>
            <ac:picMk id="4" creationId="{6982FC6C-870A-2D17-4241-681C88EEE4A9}"/>
          </ac:picMkLst>
        </pc:picChg>
        <pc:picChg chg="add del mod">
          <ac:chgData name="Eileen Fleming Suse" userId="S::efs3844@ads.northwestern.edu::725c94ef-d051-42d7-9d33-8572765d592b" providerId="AD" clId="Web-{61DCECB8-FCC4-463F-180A-DE94BEA715D4}" dt="2023-10-30T22:41:05.686" v="304"/>
          <ac:picMkLst>
            <pc:docMk/>
            <pc:sldMk cId="3635595752" sldId="545"/>
            <ac:picMk id="5" creationId="{1419DCC6-DC00-7882-A9B3-86F4E9C29BF1}"/>
          </ac:picMkLst>
        </pc:picChg>
      </pc:sldChg>
      <pc:sldChg chg="addSp modSp mod setBg addAnim">
        <pc:chgData name="Eileen Fleming Suse" userId="S::efs3844@ads.northwestern.edu::725c94ef-d051-42d7-9d33-8572765d592b" providerId="AD" clId="Web-{61DCECB8-FCC4-463F-180A-DE94BEA715D4}" dt="2023-10-30T22:47:53.463" v="364" actId="20577"/>
        <pc:sldMkLst>
          <pc:docMk/>
          <pc:sldMk cId="1036043289" sldId="546"/>
        </pc:sldMkLst>
        <pc:spChg chg="mod">
          <ac:chgData name="Eileen Fleming Suse" userId="S::efs3844@ads.northwestern.edu::725c94ef-d051-42d7-9d33-8572765d592b" providerId="AD" clId="Web-{61DCECB8-FCC4-463F-180A-DE94BEA715D4}" dt="2023-10-30T22:46:29.367" v="353"/>
          <ac:spMkLst>
            <pc:docMk/>
            <pc:sldMk cId="1036043289" sldId="546"/>
            <ac:spMk id="2" creationId="{67E16CF5-47C8-BEAD-25F8-81514DC0AF8B}"/>
          </ac:spMkLst>
        </pc:spChg>
        <pc:spChg chg="mod">
          <ac:chgData name="Eileen Fleming Suse" userId="S::efs3844@ads.northwestern.edu::725c94ef-d051-42d7-9d33-8572765d592b" providerId="AD" clId="Web-{61DCECB8-FCC4-463F-180A-DE94BEA715D4}" dt="2023-10-30T22:47:53.463" v="364" actId="20577"/>
          <ac:spMkLst>
            <pc:docMk/>
            <pc:sldMk cId="1036043289" sldId="546"/>
            <ac:spMk id="3" creationId="{BACE41BD-1CAE-1299-918F-5B1678DE12B4}"/>
          </ac:spMkLst>
        </pc:spChg>
        <pc:spChg chg="add">
          <ac:chgData name="Eileen Fleming Suse" userId="S::efs3844@ads.northwestern.edu::725c94ef-d051-42d7-9d33-8572765d592b" providerId="AD" clId="Web-{61DCECB8-FCC4-463F-180A-DE94BEA715D4}" dt="2023-10-30T22:46:29.367" v="353"/>
          <ac:spMkLst>
            <pc:docMk/>
            <pc:sldMk cId="1036043289" sldId="546"/>
            <ac:spMk id="9" creationId="{E91DC736-0EF8-4F87-9146-EBF1D2EE4D3D}"/>
          </ac:spMkLst>
        </pc:spChg>
        <pc:spChg chg="add">
          <ac:chgData name="Eileen Fleming Suse" userId="S::efs3844@ads.northwestern.edu::725c94ef-d051-42d7-9d33-8572765d592b" providerId="AD" clId="Web-{61DCECB8-FCC4-463F-180A-DE94BEA715D4}" dt="2023-10-30T22:46:29.367" v="353"/>
          <ac:spMkLst>
            <pc:docMk/>
            <pc:sldMk cId="1036043289" sldId="546"/>
            <ac:spMk id="11" creationId="{097CD68E-23E3-4007-8847-CD0944C4F7BE}"/>
          </ac:spMkLst>
        </pc:spChg>
        <pc:spChg chg="add">
          <ac:chgData name="Eileen Fleming Suse" userId="S::efs3844@ads.northwestern.edu::725c94ef-d051-42d7-9d33-8572765d592b" providerId="AD" clId="Web-{61DCECB8-FCC4-463F-180A-DE94BEA715D4}" dt="2023-10-30T22:46:29.367" v="353"/>
          <ac:spMkLst>
            <pc:docMk/>
            <pc:sldMk cId="1036043289" sldId="546"/>
            <ac:spMk id="13" creationId="{AF2F604E-43BE-4DC3-B983-E071523364F8}"/>
          </ac:spMkLst>
        </pc:spChg>
        <pc:spChg chg="add">
          <ac:chgData name="Eileen Fleming Suse" userId="S::efs3844@ads.northwestern.edu::725c94ef-d051-42d7-9d33-8572765d592b" providerId="AD" clId="Web-{61DCECB8-FCC4-463F-180A-DE94BEA715D4}" dt="2023-10-30T22:46:29.367" v="353"/>
          <ac:spMkLst>
            <pc:docMk/>
            <pc:sldMk cId="1036043289" sldId="546"/>
            <ac:spMk id="15" creationId="{08C9B587-E65E-4B52-B37C-ABEBB6E87928}"/>
          </ac:spMkLst>
        </pc:spChg>
        <pc:picChg chg="add mod ord">
          <ac:chgData name="Eileen Fleming Suse" userId="S::efs3844@ads.northwestern.edu::725c94ef-d051-42d7-9d33-8572765d592b" providerId="AD" clId="Web-{61DCECB8-FCC4-463F-180A-DE94BEA715D4}" dt="2023-10-30T22:46:29.367" v="353"/>
          <ac:picMkLst>
            <pc:docMk/>
            <pc:sldMk cId="1036043289" sldId="546"/>
            <ac:picMk id="4" creationId="{9E0544A9-5CC0-A8B3-0447-4C7A5380BF18}"/>
          </ac:picMkLst>
        </pc:picChg>
      </pc:sldChg>
      <pc:sldChg chg="modSp">
        <pc:chgData name="Eileen Fleming Suse" userId="S::efs3844@ads.northwestern.edu::725c94ef-d051-42d7-9d33-8572765d592b" providerId="AD" clId="Web-{61DCECB8-FCC4-463F-180A-DE94BEA715D4}" dt="2023-10-30T20:06:03.401" v="185" actId="1076"/>
        <pc:sldMkLst>
          <pc:docMk/>
          <pc:sldMk cId="3472964082" sldId="550"/>
        </pc:sldMkLst>
        <pc:spChg chg="mod">
          <ac:chgData name="Eileen Fleming Suse" userId="S::efs3844@ads.northwestern.edu::725c94ef-d051-42d7-9d33-8572765d592b" providerId="AD" clId="Web-{61DCECB8-FCC4-463F-180A-DE94BEA715D4}" dt="2023-10-30T20:06:03.401" v="185" actId="1076"/>
          <ac:spMkLst>
            <pc:docMk/>
            <pc:sldMk cId="3472964082" sldId="550"/>
            <ac:spMk id="14" creationId="{00000000-0000-0000-0000-000000000000}"/>
          </ac:spMkLst>
        </pc:spChg>
      </pc:sldChg>
      <pc:sldChg chg="modSp">
        <pc:chgData name="Eileen Fleming Suse" userId="S::efs3844@ads.northwestern.edu::725c94ef-d051-42d7-9d33-8572765d592b" providerId="AD" clId="Web-{61DCECB8-FCC4-463F-180A-DE94BEA715D4}" dt="2023-10-30T20:05:10.400" v="170" actId="1076"/>
        <pc:sldMkLst>
          <pc:docMk/>
          <pc:sldMk cId="2562283095" sldId="551"/>
        </pc:sldMkLst>
        <pc:spChg chg="mod">
          <ac:chgData name="Eileen Fleming Suse" userId="S::efs3844@ads.northwestern.edu::725c94ef-d051-42d7-9d33-8572765d592b" providerId="AD" clId="Web-{61DCECB8-FCC4-463F-180A-DE94BEA715D4}" dt="2023-10-30T20:05:10.400" v="170" actId="1076"/>
          <ac:spMkLst>
            <pc:docMk/>
            <pc:sldMk cId="2562283095" sldId="551"/>
            <ac:spMk id="14" creationId="{00000000-0000-0000-0000-000000000000}"/>
          </ac:spMkLst>
        </pc:spChg>
        <pc:spChg chg="mod">
          <ac:chgData name="Eileen Fleming Suse" userId="S::efs3844@ads.northwestern.edu::725c94ef-d051-42d7-9d33-8572765d592b" providerId="AD" clId="Web-{61DCECB8-FCC4-463F-180A-DE94BEA715D4}" dt="2023-10-30T20:02:45.475" v="115"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61DCECB8-FCC4-463F-180A-DE94BEA715D4}" dt="2023-10-30T20:12:03.738" v="229"/>
        <pc:sldMkLst>
          <pc:docMk/>
          <pc:sldMk cId="3067427377" sldId="560"/>
        </pc:sldMkLst>
        <pc:spChg chg="mod">
          <ac:chgData name="Eileen Fleming Suse" userId="S::efs3844@ads.northwestern.edu::725c94ef-d051-42d7-9d33-8572765d592b" providerId="AD" clId="Web-{61DCECB8-FCC4-463F-180A-DE94BEA715D4}" dt="2023-10-30T20:12:03.738" v="229"/>
          <ac:spMkLst>
            <pc:docMk/>
            <pc:sldMk cId="3067427377" sldId="560"/>
            <ac:spMk id="2" creationId="{85302686-DF06-3304-66CB-1E21F4D086DC}"/>
          </ac:spMkLst>
        </pc:spChg>
        <pc:spChg chg="mod">
          <ac:chgData name="Eileen Fleming Suse" userId="S::efs3844@ads.northwestern.edu::725c94ef-d051-42d7-9d33-8572765d592b" providerId="AD" clId="Web-{61DCECB8-FCC4-463F-180A-DE94BEA715D4}" dt="2023-10-30T20:09:47.266" v="199" actId="20577"/>
          <ac:spMkLst>
            <pc:docMk/>
            <pc:sldMk cId="3067427377" sldId="560"/>
            <ac:spMk id="3" creationId="{E7ECD19B-85BC-6652-2856-676802964CFA}"/>
          </ac:spMkLst>
        </pc:spChg>
      </pc:sldChg>
      <pc:sldChg chg="modSp">
        <pc:chgData name="Eileen Fleming Suse" userId="S::efs3844@ads.northwestern.edu::725c94ef-d051-42d7-9d33-8572765d592b" providerId="AD" clId="Web-{61DCECB8-FCC4-463F-180A-DE94BEA715D4}" dt="2023-10-30T20:15:17.508" v="249" actId="1076"/>
        <pc:sldMkLst>
          <pc:docMk/>
          <pc:sldMk cId="1141815353" sldId="562"/>
        </pc:sldMkLst>
        <pc:spChg chg="mod">
          <ac:chgData name="Eileen Fleming Suse" userId="S::efs3844@ads.northwestern.edu::725c94ef-d051-42d7-9d33-8572765d592b" providerId="AD" clId="Web-{61DCECB8-FCC4-463F-180A-DE94BEA715D4}" dt="2023-10-30T20:15:17.508" v="249" actId="1076"/>
          <ac:spMkLst>
            <pc:docMk/>
            <pc:sldMk cId="1141815353" sldId="562"/>
            <ac:spMk id="13" creationId="{2FC08365-C48A-7DB8-BBA6-D9EB552FFD55}"/>
          </ac:spMkLst>
        </pc:spChg>
      </pc:sldChg>
      <pc:sldChg chg="modSp">
        <pc:chgData name="Eileen Fleming Suse" userId="S::efs3844@ads.northwestern.edu::725c94ef-d051-42d7-9d33-8572765d592b" providerId="AD" clId="Web-{61DCECB8-FCC4-463F-180A-DE94BEA715D4}" dt="2023-10-30T19:48:03.501" v="41" actId="1076"/>
        <pc:sldMkLst>
          <pc:docMk/>
          <pc:sldMk cId="3845418986" sldId="563"/>
        </pc:sldMkLst>
        <pc:spChg chg="mod">
          <ac:chgData name="Eileen Fleming Suse" userId="S::efs3844@ads.northwestern.edu::725c94ef-d051-42d7-9d33-8572765d592b" providerId="AD" clId="Web-{61DCECB8-FCC4-463F-180A-DE94BEA715D4}" dt="2023-10-30T19:48:03.501" v="41" actId="1076"/>
          <ac:spMkLst>
            <pc:docMk/>
            <pc:sldMk cId="3845418986" sldId="563"/>
            <ac:spMk id="49" creationId="{4FD6BDF7-E6F5-6DC8-9332-E3E0DB7057F0}"/>
          </ac:spMkLst>
        </pc:spChg>
        <pc:spChg chg="mod">
          <ac:chgData name="Eileen Fleming Suse" userId="S::efs3844@ads.northwestern.edu::725c94ef-d051-42d7-9d33-8572765d592b" providerId="AD" clId="Web-{61DCECB8-FCC4-463F-180A-DE94BEA715D4}" dt="2023-10-30T19:47:58.329" v="39" actId="1076"/>
          <ac:spMkLst>
            <pc:docMk/>
            <pc:sldMk cId="3845418986" sldId="563"/>
            <ac:spMk id="51" creationId="{233EFC40-2641-E728-F412-79899FC6D0D7}"/>
          </ac:spMkLst>
        </pc:spChg>
        <pc:spChg chg="mod">
          <ac:chgData name="Eileen Fleming Suse" userId="S::efs3844@ads.northwestern.edu::725c94ef-d051-42d7-9d33-8572765d592b" providerId="AD" clId="Web-{61DCECB8-FCC4-463F-180A-DE94BEA715D4}" dt="2023-10-30T19:47:53.204" v="38" actId="1076"/>
          <ac:spMkLst>
            <pc:docMk/>
            <pc:sldMk cId="3845418986" sldId="563"/>
            <ac:spMk id="53" creationId="{66360ABF-1F2C-C63A-9187-17E2573B3DEB}"/>
          </ac:spMkLst>
        </pc:spChg>
      </pc:sldChg>
      <pc:sldChg chg="modSp">
        <pc:chgData name="Eileen Fleming Suse" userId="S::efs3844@ads.northwestern.edu::725c94ef-d051-42d7-9d33-8572765d592b" providerId="AD" clId="Web-{61DCECB8-FCC4-463F-180A-DE94BEA715D4}" dt="2023-10-30T19:47:07.218" v="36" actId="1076"/>
        <pc:sldMkLst>
          <pc:docMk/>
          <pc:sldMk cId="1536434647" sldId="564"/>
        </pc:sldMkLst>
        <pc:spChg chg="mod">
          <ac:chgData name="Eileen Fleming Suse" userId="S::efs3844@ads.northwestern.edu::725c94ef-d051-42d7-9d33-8572765d592b" providerId="AD" clId="Web-{61DCECB8-FCC4-463F-180A-DE94BEA715D4}" dt="2023-10-30T19:47:07.218" v="36" actId="1076"/>
          <ac:spMkLst>
            <pc:docMk/>
            <pc:sldMk cId="1536434647" sldId="564"/>
            <ac:spMk id="51" creationId="{DADB789B-D1D8-A439-C1FC-0121F131E706}"/>
          </ac:spMkLst>
        </pc:spChg>
        <pc:spChg chg="mod">
          <ac:chgData name="Eileen Fleming Suse" userId="S::efs3844@ads.northwestern.edu::725c94ef-d051-42d7-9d33-8572765d592b" providerId="AD" clId="Web-{61DCECB8-FCC4-463F-180A-DE94BEA715D4}" dt="2023-10-30T19:47:03.874" v="34" actId="1076"/>
          <ac:spMkLst>
            <pc:docMk/>
            <pc:sldMk cId="1536434647" sldId="564"/>
            <ac:spMk id="53" creationId="{7AA1F7FA-AA52-FED3-1784-BE66C8A7FBFC}"/>
          </ac:spMkLst>
        </pc:spChg>
        <pc:spChg chg="mod">
          <ac:chgData name="Eileen Fleming Suse" userId="S::efs3844@ads.northwestern.edu::725c94ef-d051-42d7-9d33-8572765d592b" providerId="AD" clId="Web-{61DCECB8-FCC4-463F-180A-DE94BEA715D4}" dt="2023-10-30T19:47:01.156" v="33" actId="1076"/>
          <ac:spMkLst>
            <pc:docMk/>
            <pc:sldMk cId="1536434647" sldId="564"/>
            <ac:spMk id="55" creationId="{20BABE46-A93F-751A-4C5F-3AC294D73230}"/>
          </ac:spMkLst>
        </pc:spChg>
      </pc:sldChg>
      <pc:sldChg chg="modSp">
        <pc:chgData name="Eileen Fleming Suse" userId="S::efs3844@ads.northwestern.edu::725c94ef-d051-42d7-9d33-8572765d592b" providerId="AD" clId="Web-{61DCECB8-FCC4-463F-180A-DE94BEA715D4}" dt="2023-10-30T22:49:24.356" v="387" actId="20577"/>
        <pc:sldMkLst>
          <pc:docMk/>
          <pc:sldMk cId="3870927286" sldId="583"/>
        </pc:sldMkLst>
        <pc:spChg chg="mod">
          <ac:chgData name="Eileen Fleming Suse" userId="S::efs3844@ads.northwestern.edu::725c94ef-d051-42d7-9d33-8572765d592b" providerId="AD" clId="Web-{61DCECB8-FCC4-463F-180A-DE94BEA715D4}" dt="2023-10-30T22:47:53.713" v="367" actId="1076"/>
          <ac:spMkLst>
            <pc:docMk/>
            <pc:sldMk cId="3870927286" sldId="583"/>
            <ac:spMk id="2" creationId="{00000000-0000-0000-0000-000000000000}"/>
          </ac:spMkLst>
        </pc:spChg>
        <pc:spChg chg="mod">
          <ac:chgData name="Eileen Fleming Suse" userId="S::efs3844@ads.northwestern.edu::725c94ef-d051-42d7-9d33-8572765d592b" providerId="AD" clId="Web-{61DCECB8-FCC4-463F-180A-DE94BEA715D4}" dt="2023-10-30T22:49:24.356" v="387" actId="20577"/>
          <ac:spMkLst>
            <pc:docMk/>
            <pc:sldMk cId="3870927286" sldId="583"/>
            <ac:spMk id="13" creationId="{00000000-0000-0000-0000-000000000000}"/>
          </ac:spMkLst>
        </pc:spChg>
        <pc:spChg chg="mod">
          <ac:chgData name="Eileen Fleming Suse" userId="S::efs3844@ads.northwestern.edu::725c94ef-d051-42d7-9d33-8572765d592b" providerId="AD" clId="Web-{61DCECB8-FCC4-463F-180A-DE94BEA715D4}" dt="2023-10-30T22:48:44.855" v="383" actId="1076"/>
          <ac:spMkLst>
            <pc:docMk/>
            <pc:sldMk cId="3870927286" sldId="583"/>
            <ac:spMk id="14" creationId="{00000000-0000-0000-0000-000000000000}"/>
          </ac:spMkLst>
        </pc:spChg>
        <pc:spChg chg="mod">
          <ac:chgData name="Eileen Fleming Suse" userId="S::efs3844@ads.northwestern.edu::725c94ef-d051-42d7-9d33-8572765d592b" providerId="AD" clId="Web-{61DCECB8-FCC4-463F-180A-DE94BEA715D4}" dt="2023-10-30T22:47:53.869" v="373" actId="1076"/>
          <ac:spMkLst>
            <pc:docMk/>
            <pc:sldMk cId="3870927286" sldId="583"/>
            <ac:spMk id="39" creationId="{00000000-0000-0000-0000-000000000000}"/>
          </ac:spMkLst>
        </pc:spChg>
        <pc:spChg chg="mod">
          <ac:chgData name="Eileen Fleming Suse" userId="S::efs3844@ads.northwestern.edu::725c94ef-d051-42d7-9d33-8572765d592b" providerId="AD" clId="Web-{61DCECB8-FCC4-463F-180A-DE94BEA715D4}" dt="2023-10-30T22:47:53.885" v="374" actId="1076"/>
          <ac:spMkLst>
            <pc:docMk/>
            <pc:sldMk cId="3870927286" sldId="583"/>
            <ac:spMk id="40" creationId="{00000000-0000-0000-0000-000000000000}"/>
          </ac:spMkLst>
        </pc:spChg>
        <pc:spChg chg="mod">
          <ac:chgData name="Eileen Fleming Suse" userId="S::efs3844@ads.northwestern.edu::725c94ef-d051-42d7-9d33-8572765d592b" providerId="AD" clId="Web-{61DCECB8-FCC4-463F-180A-DE94BEA715D4}" dt="2023-10-30T22:47:53.900" v="375" actId="1076"/>
          <ac:spMkLst>
            <pc:docMk/>
            <pc:sldMk cId="3870927286" sldId="583"/>
            <ac:spMk id="41" creationId="{00000000-0000-0000-0000-000000000000}"/>
          </ac:spMkLst>
        </pc:spChg>
        <pc:spChg chg="mod">
          <ac:chgData name="Eileen Fleming Suse" userId="S::efs3844@ads.northwestern.edu::725c94ef-d051-42d7-9d33-8572765d592b" providerId="AD" clId="Web-{61DCECB8-FCC4-463F-180A-DE94BEA715D4}" dt="2023-10-30T22:47:53.744" v="368" actId="1076"/>
          <ac:spMkLst>
            <pc:docMk/>
            <pc:sldMk cId="3870927286" sldId="583"/>
            <ac:spMk id="51" creationId="{00000000-0000-0000-0000-000000000000}"/>
          </ac:spMkLst>
        </pc:spChg>
        <pc:grpChg chg="mod">
          <ac:chgData name="Eileen Fleming Suse" userId="S::efs3844@ads.northwestern.edu::725c94ef-d051-42d7-9d33-8572765d592b" providerId="AD" clId="Web-{61DCECB8-FCC4-463F-180A-DE94BEA715D4}" dt="2023-10-30T22:48:23.542" v="380" actId="14100"/>
          <ac:grpSpMkLst>
            <pc:docMk/>
            <pc:sldMk cId="3870927286" sldId="583"/>
            <ac:grpSpMk id="3" creationId="{00000000-0000-0000-0000-000000000000}"/>
          </ac:grpSpMkLst>
        </pc:grpChg>
        <pc:grpChg chg="mod">
          <ac:chgData name="Eileen Fleming Suse" userId="S::efs3844@ads.northwestern.edu::725c94ef-d051-42d7-9d33-8572765d592b" providerId="AD" clId="Web-{61DCECB8-FCC4-463F-180A-DE94BEA715D4}" dt="2023-10-30T22:48:35.464" v="381" actId="1076"/>
          <ac:grpSpMkLst>
            <pc:docMk/>
            <pc:sldMk cId="3870927286" sldId="583"/>
            <ac:grpSpMk id="6" creationId="{00000000-0000-0000-0000-000000000000}"/>
          </ac:grpSpMkLst>
        </pc:grpChg>
        <pc:grpChg chg="mod">
          <ac:chgData name="Eileen Fleming Suse" userId="S::efs3844@ads.northwestern.edu::725c94ef-d051-42d7-9d33-8572765d592b" providerId="AD" clId="Web-{61DCECB8-FCC4-463F-180A-DE94BEA715D4}" dt="2023-10-30T22:48:36.042" v="382" actId="1076"/>
          <ac:grpSpMkLst>
            <pc:docMk/>
            <pc:sldMk cId="3870927286" sldId="583"/>
            <ac:grpSpMk id="9" creationId="{00000000-0000-0000-0000-000000000000}"/>
          </ac:grpSpMkLst>
        </pc:grpChg>
        <pc:grpChg chg="mod">
          <ac:chgData name="Eileen Fleming Suse" userId="S::efs3844@ads.northwestern.edu::725c94ef-d051-42d7-9d33-8572765d592b" providerId="AD" clId="Web-{61DCECB8-FCC4-463F-180A-DE94BEA715D4}" dt="2023-10-30T22:48:54.965" v="384" actId="14100"/>
          <ac:grpSpMkLst>
            <pc:docMk/>
            <pc:sldMk cId="3870927286" sldId="583"/>
            <ac:grpSpMk id="15" creationId="{00000000-0000-0000-0000-000000000000}"/>
          </ac:grpSpMkLst>
        </pc:grpChg>
        <pc:grpChg chg="mod">
          <ac:chgData name="Eileen Fleming Suse" userId="S::efs3844@ads.northwestern.edu::725c94ef-d051-42d7-9d33-8572765d592b" providerId="AD" clId="Web-{61DCECB8-FCC4-463F-180A-DE94BEA715D4}" dt="2023-10-30T22:49:04.090" v="385" actId="14100"/>
          <ac:grpSpMkLst>
            <pc:docMk/>
            <pc:sldMk cId="3870927286" sldId="583"/>
            <ac:grpSpMk id="21" creationId="{00000000-0000-0000-0000-000000000000}"/>
          </ac:grpSpMkLst>
        </pc:grpChg>
        <pc:grpChg chg="mod">
          <ac:chgData name="Eileen Fleming Suse" userId="S::efs3844@ads.northwestern.edu::725c94ef-d051-42d7-9d33-8572765d592b" providerId="AD" clId="Web-{61DCECB8-FCC4-463F-180A-DE94BEA715D4}" dt="2023-10-30T22:48:03.635" v="377" actId="14100"/>
          <ac:grpSpMkLst>
            <pc:docMk/>
            <pc:sldMk cId="3870927286" sldId="583"/>
            <ac:grpSpMk id="30" creationId="{00000000-0000-0000-0000-000000000000}"/>
          </ac:grpSpMkLst>
        </pc:grpChg>
        <pc:grpChg chg="mod">
          <ac:chgData name="Eileen Fleming Suse" userId="S::efs3844@ads.northwestern.edu::725c94ef-d051-42d7-9d33-8572765d592b" providerId="AD" clId="Web-{61DCECB8-FCC4-463F-180A-DE94BEA715D4}" dt="2023-10-30T22:48:13.416" v="378" actId="1076"/>
          <ac:grpSpMkLst>
            <pc:docMk/>
            <pc:sldMk cId="3870927286" sldId="583"/>
            <ac:grpSpMk id="33" creationId="{00000000-0000-0000-0000-000000000000}"/>
          </ac:grpSpMkLst>
        </pc:grpChg>
        <pc:grpChg chg="mod">
          <ac:chgData name="Eileen Fleming Suse" userId="S::efs3844@ads.northwestern.edu::725c94ef-d051-42d7-9d33-8572765d592b" providerId="AD" clId="Web-{61DCECB8-FCC4-463F-180A-DE94BEA715D4}" dt="2023-10-30T22:47:53.869" v="372" actId="1076"/>
          <ac:grpSpMkLst>
            <pc:docMk/>
            <pc:sldMk cId="3870927286" sldId="583"/>
            <ac:grpSpMk id="36" creationId="{00000000-0000-0000-0000-000000000000}"/>
          </ac:grpSpMkLst>
        </pc:grpChg>
        <pc:picChg chg="mod">
          <ac:chgData name="Eileen Fleming Suse" userId="S::efs3844@ads.northwestern.edu::725c94ef-d051-42d7-9d33-8572765d592b" providerId="AD" clId="Web-{61DCECB8-FCC4-463F-180A-DE94BEA715D4}" dt="2023-10-30T22:47:53.791" v="369" actId="1076"/>
          <ac:picMkLst>
            <pc:docMk/>
            <pc:sldMk cId="3870927286" sldId="583"/>
            <ac:picMk id="18" creationId="{1199796C-BA73-A007-E570-EBC0C69CD679}"/>
          </ac:picMkLst>
        </pc:picChg>
      </pc:sldChg>
      <pc:sldChg chg="modSp">
        <pc:chgData name="Eileen Fleming Suse" userId="S::efs3844@ads.northwestern.edu::725c94ef-d051-42d7-9d33-8572765d592b" providerId="AD" clId="Web-{61DCECB8-FCC4-463F-180A-DE94BEA715D4}" dt="2023-10-30T20:02:49.334" v="116" actId="20577"/>
        <pc:sldMkLst>
          <pc:docMk/>
          <pc:sldMk cId="3561966490" sldId="585"/>
        </pc:sldMkLst>
        <pc:spChg chg="mod">
          <ac:chgData name="Eileen Fleming Suse" userId="S::efs3844@ads.northwestern.edu::725c94ef-d051-42d7-9d33-8572765d592b" providerId="AD" clId="Web-{61DCECB8-FCC4-463F-180A-DE94BEA715D4}" dt="2023-10-30T20:02:49.334" v="116" actId="20577"/>
          <ac:spMkLst>
            <pc:docMk/>
            <pc:sldMk cId="3561966490" sldId="585"/>
            <ac:spMk id="7" creationId="{00000000-0000-0000-0000-000000000000}"/>
          </ac:spMkLst>
        </pc:spChg>
      </pc:sldChg>
      <pc:sldChg chg="modSp">
        <pc:chgData name="Eileen Fleming Suse" userId="S::efs3844@ads.northwestern.edu::725c94ef-d051-42d7-9d33-8572765d592b" providerId="AD" clId="Web-{61DCECB8-FCC4-463F-180A-DE94BEA715D4}" dt="2023-10-30T19:53:05.930" v="77" actId="14100"/>
        <pc:sldMkLst>
          <pc:docMk/>
          <pc:sldMk cId="3809547791" sldId="586"/>
        </pc:sldMkLst>
        <pc:spChg chg="mod">
          <ac:chgData name="Eileen Fleming Suse" userId="S::efs3844@ads.northwestern.edu::725c94ef-d051-42d7-9d33-8572765d592b" providerId="AD" clId="Web-{61DCECB8-FCC4-463F-180A-DE94BEA715D4}" dt="2023-10-30T19:53:05.930" v="77" actId="14100"/>
          <ac:spMkLst>
            <pc:docMk/>
            <pc:sldMk cId="3809547791" sldId="586"/>
            <ac:spMk id="45" creationId="{C77E478B-4FF6-99F3-8EF6-9EC4CBF20CDC}"/>
          </ac:spMkLst>
        </pc:spChg>
        <pc:spChg chg="mod">
          <ac:chgData name="Eileen Fleming Suse" userId="S::efs3844@ads.northwestern.edu::725c94ef-d051-42d7-9d33-8572765d592b" providerId="AD" clId="Web-{61DCECB8-FCC4-463F-180A-DE94BEA715D4}" dt="2023-10-30T19:52:21.335" v="74" actId="1076"/>
          <ac:spMkLst>
            <pc:docMk/>
            <pc:sldMk cId="3809547791" sldId="586"/>
            <ac:spMk id="47" creationId="{B8E0B5F5-B6A2-711D-2F6F-422E5E01B221}"/>
          </ac:spMkLst>
        </pc:spChg>
      </pc:sldChg>
      <pc:sldChg chg="modSp">
        <pc:chgData name="Eileen Fleming Suse" userId="S::efs3844@ads.northwestern.edu::725c94ef-d051-42d7-9d33-8572765d592b" providerId="AD" clId="Web-{61DCECB8-FCC4-463F-180A-DE94BEA715D4}" dt="2023-10-30T19:52:12.554" v="72" actId="1076"/>
        <pc:sldMkLst>
          <pc:docMk/>
          <pc:sldMk cId="1598854783" sldId="587"/>
        </pc:sldMkLst>
        <pc:spChg chg="mod">
          <ac:chgData name="Eileen Fleming Suse" userId="S::efs3844@ads.northwestern.edu::725c94ef-d051-42d7-9d33-8572765d592b" providerId="AD" clId="Web-{61DCECB8-FCC4-463F-180A-DE94BEA715D4}" dt="2023-10-30T19:52:12.554" v="72" actId="1076"/>
          <ac:spMkLst>
            <pc:docMk/>
            <pc:sldMk cId="1598854783" sldId="587"/>
            <ac:spMk id="49" creationId="{E2210AC7-88E9-3DF2-B6FD-284390179A81}"/>
          </ac:spMkLst>
        </pc:spChg>
        <pc:spChg chg="mod">
          <ac:chgData name="Eileen Fleming Suse" userId="S::efs3844@ads.northwestern.edu::725c94ef-d051-42d7-9d33-8572765d592b" providerId="AD" clId="Web-{61DCECB8-FCC4-463F-180A-DE94BEA715D4}" dt="2023-10-30T19:50:46.880" v="70" actId="1076"/>
          <ac:spMkLst>
            <pc:docMk/>
            <pc:sldMk cId="1598854783" sldId="587"/>
            <ac:spMk id="51" creationId="{24A2DEC9-4CC0-CBF0-5D9A-524D9EFAEE1C}"/>
          </ac:spMkLst>
        </pc:spChg>
        <pc:spChg chg="mod">
          <ac:chgData name="Eileen Fleming Suse" userId="S::efs3844@ads.northwestern.edu::725c94ef-d051-42d7-9d33-8572765d592b" providerId="AD" clId="Web-{61DCECB8-FCC4-463F-180A-DE94BEA715D4}" dt="2023-10-30T19:50:45.505" v="69" actId="1076"/>
          <ac:spMkLst>
            <pc:docMk/>
            <pc:sldMk cId="1598854783" sldId="587"/>
            <ac:spMk id="53" creationId="{0E0706BB-4123-83DA-E93A-66A50F4484A3}"/>
          </ac:spMkLst>
        </pc:spChg>
      </pc:sldChg>
      <pc:sldChg chg="modSp">
        <pc:chgData name="Eileen Fleming Suse" userId="S::efs3844@ads.northwestern.edu::725c94ef-d051-42d7-9d33-8572765d592b" providerId="AD" clId="Web-{61DCECB8-FCC4-463F-180A-DE94BEA715D4}" dt="2023-10-30T19:56:42.544" v="104" actId="1076"/>
        <pc:sldMkLst>
          <pc:docMk/>
          <pc:sldMk cId="3832963388" sldId="588"/>
        </pc:sldMkLst>
        <pc:spChg chg="mod">
          <ac:chgData name="Eileen Fleming Suse" userId="S::efs3844@ads.northwestern.edu::725c94ef-d051-42d7-9d33-8572765d592b" providerId="AD" clId="Web-{61DCECB8-FCC4-463F-180A-DE94BEA715D4}" dt="2023-10-30T19:56:42.544" v="104" actId="1076"/>
          <ac:spMkLst>
            <pc:docMk/>
            <pc:sldMk cId="3832963388" sldId="588"/>
            <ac:spMk id="27" creationId="{00000000-0000-0000-0000-000000000000}"/>
          </ac:spMkLst>
        </pc:spChg>
        <pc:spChg chg="mod">
          <ac:chgData name="Eileen Fleming Suse" userId="S::efs3844@ads.northwestern.edu::725c94ef-d051-42d7-9d33-8572765d592b" providerId="AD" clId="Web-{61DCECB8-FCC4-463F-180A-DE94BEA715D4}" dt="2023-10-30T19:56:12.966" v="102" actId="1076"/>
          <ac:spMkLst>
            <pc:docMk/>
            <pc:sldMk cId="3832963388" sldId="588"/>
            <ac:spMk id="32" creationId="{00000000-0000-0000-0000-000000000000}"/>
          </ac:spMkLst>
        </pc:spChg>
        <pc:spChg chg="mod">
          <ac:chgData name="Eileen Fleming Suse" userId="S::efs3844@ads.northwestern.edu::725c94ef-d051-42d7-9d33-8572765d592b" providerId="AD" clId="Web-{61DCECB8-FCC4-463F-180A-DE94BEA715D4}" dt="2023-10-30T19:50:22.270" v="62" actId="14100"/>
          <ac:spMkLst>
            <pc:docMk/>
            <pc:sldMk cId="3832963388" sldId="588"/>
            <ac:spMk id="36" creationId="{3EFC5C80-E693-6C51-4DEF-583812BEAB54}"/>
          </ac:spMkLst>
        </pc:spChg>
        <pc:spChg chg="mod">
          <ac:chgData name="Eileen Fleming Suse" userId="S::efs3844@ads.northwestern.edu::725c94ef-d051-42d7-9d33-8572765d592b" providerId="AD" clId="Web-{61DCECB8-FCC4-463F-180A-DE94BEA715D4}" dt="2023-10-30T19:50:16.801" v="59" actId="1076"/>
          <ac:spMkLst>
            <pc:docMk/>
            <pc:sldMk cId="3832963388" sldId="588"/>
            <ac:spMk id="38" creationId="{9B32A794-89CE-3CF7-CCFB-FB03BB567C6D}"/>
          </ac:spMkLst>
        </pc:spChg>
      </pc:sldChg>
      <pc:sldChg chg="modSp">
        <pc:chgData name="Eileen Fleming Suse" userId="S::efs3844@ads.northwestern.edu::725c94ef-d051-42d7-9d33-8572765d592b" providerId="AD" clId="Web-{61DCECB8-FCC4-463F-180A-DE94BEA715D4}" dt="2023-10-30T19:56:26.903" v="103" actId="20577"/>
        <pc:sldMkLst>
          <pc:docMk/>
          <pc:sldMk cId="435998680" sldId="589"/>
        </pc:sldMkLst>
        <pc:spChg chg="mod">
          <ac:chgData name="Eileen Fleming Suse" userId="S::efs3844@ads.northwestern.edu::725c94ef-d051-42d7-9d33-8572765d592b" providerId="AD" clId="Web-{61DCECB8-FCC4-463F-180A-DE94BEA715D4}" dt="2023-10-30T19:54:21.947" v="86" actId="1076"/>
          <ac:spMkLst>
            <pc:docMk/>
            <pc:sldMk cId="435998680" sldId="589"/>
            <ac:spMk id="3" creationId="{00000000-0000-0000-0000-000000000000}"/>
          </ac:spMkLst>
        </pc:spChg>
        <pc:spChg chg="mod">
          <ac:chgData name="Eileen Fleming Suse" userId="S::efs3844@ads.northwestern.edu::725c94ef-d051-42d7-9d33-8572765d592b" providerId="AD" clId="Web-{61DCECB8-FCC4-463F-180A-DE94BEA715D4}" dt="2023-10-30T19:55:39.215" v="99" actId="1076"/>
          <ac:spMkLst>
            <pc:docMk/>
            <pc:sldMk cId="435998680" sldId="589"/>
            <ac:spMk id="8" creationId="{00000000-0000-0000-0000-000000000000}"/>
          </ac:spMkLst>
        </pc:spChg>
        <pc:spChg chg="mod">
          <ac:chgData name="Eileen Fleming Suse" userId="S::efs3844@ads.northwestern.edu::725c94ef-d051-42d7-9d33-8572765d592b" providerId="AD" clId="Web-{61DCECB8-FCC4-463F-180A-DE94BEA715D4}" dt="2023-10-30T19:54:19.322" v="85" actId="14100"/>
          <ac:spMkLst>
            <pc:docMk/>
            <pc:sldMk cId="435998680" sldId="589"/>
            <ac:spMk id="10" creationId="{00000000-0000-0000-0000-000000000000}"/>
          </ac:spMkLst>
        </pc:spChg>
        <pc:spChg chg="mod">
          <ac:chgData name="Eileen Fleming Suse" userId="S::efs3844@ads.northwestern.edu::725c94ef-d051-42d7-9d33-8572765d592b" providerId="AD" clId="Web-{61DCECB8-FCC4-463F-180A-DE94BEA715D4}" dt="2023-10-30T19:54:08.025" v="83" actId="1076"/>
          <ac:spMkLst>
            <pc:docMk/>
            <pc:sldMk cId="435998680" sldId="589"/>
            <ac:spMk id="13" creationId="{00000000-0000-0000-0000-000000000000}"/>
          </ac:spMkLst>
        </pc:spChg>
        <pc:spChg chg="mod">
          <ac:chgData name="Eileen Fleming Suse" userId="S::efs3844@ads.northwestern.edu::725c94ef-d051-42d7-9d33-8572765d592b" providerId="AD" clId="Web-{61DCECB8-FCC4-463F-180A-DE94BEA715D4}" dt="2023-10-30T19:56:26.903" v="103" actId="20577"/>
          <ac:spMkLst>
            <pc:docMk/>
            <pc:sldMk cId="435998680" sldId="589"/>
            <ac:spMk id="16" creationId="{00000000-0000-0000-0000-000000000000}"/>
          </ac:spMkLst>
        </pc:spChg>
        <pc:spChg chg="mod">
          <ac:chgData name="Eileen Fleming Suse" userId="S::efs3844@ads.northwestern.edu::725c94ef-d051-42d7-9d33-8572765d592b" providerId="AD" clId="Web-{61DCECB8-FCC4-463F-180A-DE94BEA715D4}" dt="2023-10-30T19:54:46.620" v="90" actId="20577"/>
          <ac:spMkLst>
            <pc:docMk/>
            <pc:sldMk cId="435998680" sldId="589"/>
            <ac:spMk id="17" creationId="{00000000-0000-0000-0000-000000000000}"/>
          </ac:spMkLst>
        </pc:spChg>
        <pc:spChg chg="mod">
          <ac:chgData name="Eileen Fleming Suse" userId="S::efs3844@ads.northwestern.edu::725c94ef-d051-42d7-9d33-8572765d592b" providerId="AD" clId="Web-{61DCECB8-FCC4-463F-180A-DE94BEA715D4}" dt="2023-10-30T19:49:42.800" v="52" actId="14100"/>
          <ac:spMkLst>
            <pc:docMk/>
            <pc:sldMk cId="435998680" sldId="589"/>
            <ac:spMk id="19" creationId="{4F38B046-5CD5-F005-45E3-2034830DFD34}"/>
          </ac:spMkLst>
        </pc:spChg>
        <pc:spChg chg="mod">
          <ac:chgData name="Eileen Fleming Suse" userId="S::efs3844@ads.northwestern.edu::725c94ef-d051-42d7-9d33-8572765d592b" providerId="AD" clId="Web-{61DCECB8-FCC4-463F-180A-DE94BEA715D4}" dt="2023-10-30T19:49:51.378" v="55" actId="1076"/>
          <ac:spMkLst>
            <pc:docMk/>
            <pc:sldMk cId="435998680" sldId="589"/>
            <ac:spMk id="21" creationId="{A35E0C3C-CC22-A1A0-8E94-9EEE65798BD1}"/>
          </ac:spMkLst>
        </pc:spChg>
        <pc:spChg chg="mod">
          <ac:chgData name="Eileen Fleming Suse" userId="S::efs3844@ads.northwestern.edu::725c94ef-d051-42d7-9d33-8572765d592b" providerId="AD" clId="Web-{61DCECB8-FCC4-463F-180A-DE94BEA715D4}" dt="2023-10-30T19:48:51.643" v="51" actId="1076"/>
          <ac:spMkLst>
            <pc:docMk/>
            <pc:sldMk cId="435998680" sldId="589"/>
            <ac:spMk id="23" creationId="{4187CCE4-601B-24DB-941F-235B18EDE475}"/>
          </ac:spMkLst>
        </pc:spChg>
        <pc:grpChg chg="mod">
          <ac:chgData name="Eileen Fleming Suse" userId="S::efs3844@ads.northwestern.edu::725c94ef-d051-42d7-9d33-8572765d592b" providerId="AD" clId="Web-{61DCECB8-FCC4-463F-180A-DE94BEA715D4}" dt="2023-10-30T19:54:05.572" v="82" actId="1076"/>
          <ac:grpSpMkLst>
            <pc:docMk/>
            <pc:sldMk cId="435998680" sldId="589"/>
            <ac:grpSpMk id="5" creationId="{00000000-0000-0000-0000-000000000000}"/>
          </ac:grpSpMkLst>
        </pc:grpChg>
      </pc:sldChg>
      <pc:sldChg chg="modSp">
        <pc:chgData name="Eileen Fleming Suse" userId="S::efs3844@ads.northwestern.edu::725c94ef-d051-42d7-9d33-8572765d592b" providerId="AD" clId="Web-{61DCECB8-FCC4-463F-180A-DE94BEA715D4}" dt="2023-10-30T19:53:40.587" v="81" actId="1076"/>
        <pc:sldMkLst>
          <pc:docMk/>
          <pc:sldMk cId="595546358" sldId="590"/>
        </pc:sldMkLst>
        <pc:spChg chg="mod">
          <ac:chgData name="Eileen Fleming Suse" userId="S::efs3844@ads.northwestern.edu::725c94ef-d051-42d7-9d33-8572765d592b" providerId="AD" clId="Web-{61DCECB8-FCC4-463F-180A-DE94BEA715D4}" dt="2023-10-30T19:53:37.665" v="80" actId="1076"/>
          <ac:spMkLst>
            <pc:docMk/>
            <pc:sldMk cId="595546358" sldId="590"/>
            <ac:spMk id="26" creationId="{00000000-0000-0000-0000-000000000000}"/>
          </ac:spMkLst>
        </pc:spChg>
        <pc:spChg chg="mod">
          <ac:chgData name="Eileen Fleming Suse" userId="S::efs3844@ads.northwestern.edu::725c94ef-d051-42d7-9d33-8572765d592b" providerId="AD" clId="Web-{61DCECB8-FCC4-463F-180A-DE94BEA715D4}" dt="2023-10-30T19:53:22.602" v="79" actId="1076"/>
          <ac:spMkLst>
            <pc:docMk/>
            <pc:sldMk cId="595546358" sldId="590"/>
            <ac:spMk id="30" creationId="{53721EF8-C35D-834E-9339-D65FFE7AFF9A}"/>
          </ac:spMkLst>
        </pc:spChg>
        <pc:spChg chg="mod">
          <ac:chgData name="Eileen Fleming Suse" userId="S::efs3844@ads.northwestern.edu::725c94ef-d051-42d7-9d33-8572765d592b" providerId="AD" clId="Web-{61DCECB8-FCC4-463F-180A-DE94BEA715D4}" dt="2023-10-30T19:53:20.774" v="78" actId="1076"/>
          <ac:spMkLst>
            <pc:docMk/>
            <pc:sldMk cId="595546358" sldId="590"/>
            <ac:spMk id="32" creationId="{F1AED984-C21E-AA63-E34E-DA61BCE8401F}"/>
          </ac:spMkLst>
        </pc:spChg>
        <pc:spChg chg="mod">
          <ac:chgData name="Eileen Fleming Suse" userId="S::efs3844@ads.northwestern.edu::725c94ef-d051-42d7-9d33-8572765d592b" providerId="AD" clId="Web-{61DCECB8-FCC4-463F-180A-DE94BEA715D4}" dt="2023-10-30T19:48:30.908" v="45" actId="1076"/>
          <ac:spMkLst>
            <pc:docMk/>
            <pc:sldMk cId="595546358" sldId="590"/>
            <ac:spMk id="34" creationId="{6A9EBE99-61D6-2DC0-EB79-B633C9D91DD8}"/>
          </ac:spMkLst>
        </pc:spChg>
        <pc:grpChg chg="mod">
          <ac:chgData name="Eileen Fleming Suse" userId="S::efs3844@ads.northwestern.edu::725c94ef-d051-42d7-9d33-8572765d592b" providerId="AD" clId="Web-{61DCECB8-FCC4-463F-180A-DE94BEA715D4}" dt="2023-10-30T19:53:40.587" v="81" actId="1076"/>
          <ac:grpSpMkLst>
            <pc:docMk/>
            <pc:sldMk cId="595546358" sldId="590"/>
            <ac:grpSpMk id="11" creationId="{00000000-0000-0000-0000-000000000000}"/>
          </ac:grpSpMkLst>
        </pc:grpChg>
      </pc:sldChg>
      <pc:sldChg chg="modSp">
        <pc:chgData name="Eileen Fleming Suse" userId="S::efs3844@ads.northwestern.edu::725c94ef-d051-42d7-9d33-8572765d592b" providerId="AD" clId="Web-{61DCECB8-FCC4-463F-180A-DE94BEA715D4}" dt="2023-10-30T19:48:08.470" v="42" actId="1076"/>
        <pc:sldMkLst>
          <pc:docMk/>
          <pc:sldMk cId="629433230" sldId="591"/>
        </pc:sldMkLst>
        <pc:spChg chg="mod">
          <ac:chgData name="Eileen Fleming Suse" userId="S::efs3844@ads.northwestern.edu::725c94ef-d051-42d7-9d33-8572765d592b" providerId="AD" clId="Web-{61DCECB8-FCC4-463F-180A-DE94BEA715D4}" dt="2023-10-30T19:46:46.702" v="31" actId="1076"/>
          <ac:spMkLst>
            <pc:docMk/>
            <pc:sldMk cId="629433230" sldId="591"/>
            <ac:spMk id="24" creationId="{82DED22A-2957-2107-97D2-7694FF88F0A5}"/>
          </ac:spMkLst>
        </pc:spChg>
        <pc:spChg chg="mod">
          <ac:chgData name="Eileen Fleming Suse" userId="S::efs3844@ads.northwestern.edu::725c94ef-d051-42d7-9d33-8572765d592b" providerId="AD" clId="Web-{61DCECB8-FCC4-463F-180A-DE94BEA715D4}" dt="2023-10-30T19:48:08.470" v="42" actId="1076"/>
          <ac:spMkLst>
            <pc:docMk/>
            <pc:sldMk cId="629433230" sldId="591"/>
            <ac:spMk id="26" creationId="{7ADA2A22-B85F-E8A9-52B3-7FA1A111EB25}"/>
          </ac:spMkLst>
        </pc:spChg>
      </pc:sldChg>
      <pc:sldChg chg="del mod modShow">
        <pc:chgData name="Eileen Fleming Suse" userId="S::efs3844@ads.northwestern.edu::725c94ef-d051-42d7-9d33-8572765d592b" providerId="AD" clId="Web-{61DCECB8-FCC4-463F-180A-DE94BEA715D4}" dt="2023-10-30T22:38:32.619" v="291"/>
        <pc:sldMkLst>
          <pc:docMk/>
          <pc:sldMk cId="2628065282" sldId="597"/>
        </pc:sldMkLst>
      </pc:sldChg>
      <pc:sldChg chg="del mod modShow">
        <pc:chgData name="Eileen Fleming Suse" userId="S::efs3844@ads.northwestern.edu::725c94ef-d051-42d7-9d33-8572765d592b" providerId="AD" clId="Web-{61DCECB8-FCC4-463F-180A-DE94BEA715D4}" dt="2023-10-30T22:38:32.619" v="292"/>
        <pc:sldMkLst>
          <pc:docMk/>
          <pc:sldMk cId="1478149357" sldId="598"/>
        </pc:sldMkLst>
      </pc:sldChg>
      <pc:sldChg chg="modSp del">
        <pc:chgData name="Eileen Fleming Suse" userId="S::efs3844@ads.northwestern.edu::725c94ef-d051-42d7-9d33-8572765d592b" providerId="AD" clId="Web-{61DCECB8-FCC4-463F-180A-DE94BEA715D4}" dt="2023-10-30T22:38:32.603" v="287"/>
        <pc:sldMkLst>
          <pc:docMk/>
          <pc:sldMk cId="2470795492" sldId="599"/>
        </pc:sldMkLst>
        <pc:spChg chg="mod">
          <ac:chgData name="Eileen Fleming Suse" userId="S::efs3844@ads.northwestern.edu::725c94ef-d051-42d7-9d33-8572765d592b" providerId="AD" clId="Web-{61DCECB8-FCC4-463F-180A-DE94BEA715D4}" dt="2023-10-30T20:16:22.525" v="250"/>
          <ac:spMkLst>
            <pc:docMk/>
            <pc:sldMk cId="2470795492" sldId="599"/>
            <ac:spMk id="16386" creationId="{00000000-0000-0000-0000-000000000000}"/>
          </ac:spMkLst>
        </pc:spChg>
      </pc:sldChg>
      <pc:sldChg chg="modSp del">
        <pc:chgData name="Eileen Fleming Suse" userId="S::efs3844@ads.northwestern.edu::725c94ef-d051-42d7-9d33-8572765d592b" providerId="AD" clId="Web-{61DCECB8-FCC4-463F-180A-DE94BEA715D4}" dt="2023-10-30T22:38:32.603" v="288"/>
        <pc:sldMkLst>
          <pc:docMk/>
          <pc:sldMk cId="2592767400" sldId="600"/>
        </pc:sldMkLst>
        <pc:spChg chg="mod">
          <ac:chgData name="Eileen Fleming Suse" userId="S::efs3844@ads.northwestern.edu::725c94ef-d051-42d7-9d33-8572765d592b" providerId="AD" clId="Web-{61DCECB8-FCC4-463F-180A-DE94BEA715D4}" dt="2023-10-30T20:16:30.104" v="251"/>
          <ac:spMkLst>
            <pc:docMk/>
            <pc:sldMk cId="2592767400" sldId="600"/>
            <ac:spMk id="16386" creationId="{00000000-0000-0000-0000-000000000000}"/>
          </ac:spMkLst>
        </pc:spChg>
      </pc:sldChg>
      <pc:sldChg chg="del">
        <pc:chgData name="Eileen Fleming Suse" userId="S::efs3844@ads.northwestern.edu::725c94ef-d051-42d7-9d33-8572765d592b" providerId="AD" clId="Web-{61DCECB8-FCC4-463F-180A-DE94BEA715D4}" dt="2023-10-30T22:38:32.603" v="289"/>
        <pc:sldMkLst>
          <pc:docMk/>
          <pc:sldMk cId="3023536423" sldId="601"/>
        </pc:sldMkLst>
      </pc:sldChg>
      <pc:sldChg chg="modSp del">
        <pc:chgData name="Eileen Fleming Suse" userId="S::efs3844@ads.northwestern.edu::725c94ef-d051-42d7-9d33-8572765d592b" providerId="AD" clId="Web-{61DCECB8-FCC4-463F-180A-DE94BEA715D4}" dt="2023-10-30T22:38:32.603" v="290"/>
        <pc:sldMkLst>
          <pc:docMk/>
          <pc:sldMk cId="1011826885" sldId="602"/>
        </pc:sldMkLst>
        <pc:spChg chg="mod">
          <ac:chgData name="Eileen Fleming Suse" userId="S::efs3844@ads.northwestern.edu::725c94ef-d051-42d7-9d33-8572765d592b" providerId="AD" clId="Web-{61DCECB8-FCC4-463F-180A-DE94BEA715D4}" dt="2023-10-30T20:16:36.619" v="252"/>
          <ac:spMkLst>
            <pc:docMk/>
            <pc:sldMk cId="1011826885" sldId="602"/>
            <ac:spMk id="16386" creationId="{00000000-0000-0000-0000-000000000000}"/>
          </ac:spMkLst>
        </pc:spChg>
      </pc:sldChg>
      <pc:sldChg chg="del">
        <pc:chgData name="Eileen Fleming Suse" userId="S::efs3844@ads.northwestern.edu::725c94ef-d051-42d7-9d33-8572765d592b" providerId="AD" clId="Web-{61DCECB8-FCC4-463F-180A-DE94BEA715D4}" dt="2023-10-30T22:38:32.587" v="284"/>
        <pc:sldMkLst>
          <pc:docMk/>
          <pc:sldMk cId="600547746" sldId="603"/>
        </pc:sldMkLst>
      </pc:sldChg>
      <pc:sldChg chg="del">
        <pc:chgData name="Eileen Fleming Suse" userId="S::efs3844@ads.northwestern.edu::725c94ef-d051-42d7-9d33-8572765d592b" providerId="AD" clId="Web-{61DCECB8-FCC4-463F-180A-DE94BEA715D4}" dt="2023-10-30T22:38:32.587" v="285"/>
        <pc:sldMkLst>
          <pc:docMk/>
          <pc:sldMk cId="3355787309" sldId="604"/>
        </pc:sldMkLst>
      </pc:sldChg>
      <pc:sldChg chg="del">
        <pc:chgData name="Eileen Fleming Suse" userId="S::efs3844@ads.northwestern.edu::725c94ef-d051-42d7-9d33-8572765d592b" providerId="AD" clId="Web-{61DCECB8-FCC4-463F-180A-DE94BEA715D4}" dt="2023-10-30T22:38:32.587" v="286"/>
        <pc:sldMkLst>
          <pc:docMk/>
          <pc:sldMk cId="1452140663" sldId="605"/>
        </pc:sldMkLst>
      </pc:sldChg>
      <pc:sldChg chg="del">
        <pc:chgData name="Eileen Fleming Suse" userId="S::efs3844@ads.northwestern.edu::725c94ef-d051-42d7-9d33-8572765d592b" providerId="AD" clId="Web-{61DCECB8-FCC4-463F-180A-DE94BEA715D4}" dt="2023-10-30T22:38:32.572" v="280"/>
        <pc:sldMkLst>
          <pc:docMk/>
          <pc:sldMk cId="1937423064" sldId="606"/>
        </pc:sldMkLst>
      </pc:sldChg>
      <pc:sldChg chg="del">
        <pc:chgData name="Eileen Fleming Suse" userId="S::efs3844@ads.northwestern.edu::725c94ef-d051-42d7-9d33-8572765d592b" providerId="AD" clId="Web-{61DCECB8-FCC4-463F-180A-DE94BEA715D4}" dt="2023-10-30T22:38:32.572" v="281"/>
        <pc:sldMkLst>
          <pc:docMk/>
          <pc:sldMk cId="3774016129" sldId="607"/>
        </pc:sldMkLst>
      </pc:sldChg>
      <pc:sldChg chg="del">
        <pc:chgData name="Eileen Fleming Suse" userId="S::efs3844@ads.northwestern.edu::725c94ef-d051-42d7-9d33-8572765d592b" providerId="AD" clId="Web-{61DCECB8-FCC4-463F-180A-DE94BEA715D4}" dt="2023-10-30T22:38:32.572" v="282"/>
        <pc:sldMkLst>
          <pc:docMk/>
          <pc:sldMk cId="3226012611" sldId="608"/>
        </pc:sldMkLst>
      </pc:sldChg>
      <pc:sldChg chg="del">
        <pc:chgData name="Eileen Fleming Suse" userId="S::efs3844@ads.northwestern.edu::725c94ef-d051-42d7-9d33-8572765d592b" providerId="AD" clId="Web-{61DCECB8-FCC4-463F-180A-DE94BEA715D4}" dt="2023-10-30T22:38:32.587" v="283"/>
        <pc:sldMkLst>
          <pc:docMk/>
          <pc:sldMk cId="2003568291" sldId="609"/>
        </pc:sldMkLst>
      </pc:sldChg>
      <pc:sldChg chg="modSp">
        <pc:chgData name="Eileen Fleming Suse" userId="S::efs3844@ads.northwestern.edu::725c94ef-d051-42d7-9d33-8572765d592b" providerId="AD" clId="Web-{61DCECB8-FCC4-463F-180A-DE94BEA715D4}" dt="2023-10-30T19:46:03.186" v="29" actId="20577"/>
        <pc:sldMkLst>
          <pc:docMk/>
          <pc:sldMk cId="3850125703" sldId="622"/>
        </pc:sldMkLst>
        <pc:spChg chg="mod">
          <ac:chgData name="Eileen Fleming Suse" userId="S::efs3844@ads.northwestern.edu::725c94ef-d051-42d7-9d33-8572765d592b" providerId="AD" clId="Web-{61DCECB8-FCC4-463F-180A-DE94BEA715D4}" dt="2023-10-30T19:45:47.826" v="6" actId="20577"/>
          <ac:spMkLst>
            <pc:docMk/>
            <pc:sldMk cId="3850125703" sldId="622"/>
            <ac:spMk id="12" creationId="{00000000-0000-0000-0000-000000000000}"/>
          </ac:spMkLst>
        </pc:spChg>
        <pc:spChg chg="mod">
          <ac:chgData name="Eileen Fleming Suse" userId="S::efs3844@ads.northwestern.edu::725c94ef-d051-42d7-9d33-8572765d592b" providerId="AD" clId="Web-{61DCECB8-FCC4-463F-180A-DE94BEA715D4}" dt="2023-10-30T19:45:56.310" v="22" actId="20577"/>
          <ac:spMkLst>
            <pc:docMk/>
            <pc:sldMk cId="3850125703" sldId="622"/>
            <ac:spMk id="27" creationId="{00000000-0000-0000-0000-000000000000}"/>
          </ac:spMkLst>
        </pc:spChg>
        <pc:spChg chg="mod">
          <ac:chgData name="Eileen Fleming Suse" userId="S::efs3844@ads.northwestern.edu::725c94ef-d051-42d7-9d33-8572765d592b" providerId="AD" clId="Web-{61DCECB8-FCC4-463F-180A-DE94BEA715D4}" dt="2023-10-30T19:45:49.076" v="8" actId="20577"/>
          <ac:spMkLst>
            <pc:docMk/>
            <pc:sldMk cId="3850125703" sldId="622"/>
            <ac:spMk id="39" creationId="{00000000-0000-0000-0000-000000000000}"/>
          </ac:spMkLst>
        </pc:spChg>
        <pc:spChg chg="mod">
          <ac:chgData name="Eileen Fleming Suse" userId="S::efs3844@ads.northwestern.edu::725c94ef-d051-42d7-9d33-8572765d592b" providerId="AD" clId="Web-{61DCECB8-FCC4-463F-180A-DE94BEA715D4}" dt="2023-10-30T19:46:03.186" v="29" actId="20577"/>
          <ac:spMkLst>
            <pc:docMk/>
            <pc:sldMk cId="3850125703" sldId="622"/>
            <ac:spMk id="48" creationId="{00000000-0000-0000-0000-000000000000}"/>
          </ac:spMkLst>
        </pc:spChg>
      </pc:sldChg>
      <pc:sldChg chg="del">
        <pc:chgData name="Eileen Fleming Suse" userId="S::efs3844@ads.northwestern.edu::725c94ef-d051-42d7-9d33-8572765d592b" providerId="AD" clId="Web-{61DCECB8-FCC4-463F-180A-DE94BEA715D4}" dt="2023-10-30T22:38:32.572" v="278"/>
        <pc:sldMkLst>
          <pc:docMk/>
          <pc:sldMk cId="1987746666" sldId="623"/>
        </pc:sldMkLst>
      </pc:sldChg>
      <pc:sldChg chg="del">
        <pc:chgData name="Eileen Fleming Suse" userId="S::efs3844@ads.northwestern.edu::725c94ef-d051-42d7-9d33-8572765d592b" providerId="AD" clId="Web-{61DCECB8-FCC4-463F-180A-DE94BEA715D4}" dt="2023-10-30T22:38:32.572" v="279"/>
        <pc:sldMkLst>
          <pc:docMk/>
          <pc:sldMk cId="924990962" sldId="625"/>
        </pc:sldMkLst>
      </pc:sldChg>
      <pc:sldChg chg="del">
        <pc:chgData name="Eileen Fleming Suse" userId="S::efs3844@ads.northwestern.edu::725c94ef-d051-42d7-9d33-8572765d592b" providerId="AD" clId="Web-{61DCECB8-FCC4-463F-180A-DE94BEA715D4}" dt="2023-10-30T22:38:32.541" v="272"/>
        <pc:sldMkLst>
          <pc:docMk/>
          <pc:sldMk cId="3004443360" sldId="626"/>
        </pc:sldMkLst>
      </pc:sldChg>
      <pc:sldChg chg="del">
        <pc:chgData name="Eileen Fleming Suse" userId="S::efs3844@ads.northwestern.edu::725c94ef-d051-42d7-9d33-8572765d592b" providerId="AD" clId="Web-{61DCECB8-FCC4-463F-180A-DE94BEA715D4}" dt="2023-10-30T22:38:32.556" v="274"/>
        <pc:sldMkLst>
          <pc:docMk/>
          <pc:sldMk cId="53107998" sldId="627"/>
        </pc:sldMkLst>
      </pc:sldChg>
      <pc:sldChg chg="del">
        <pc:chgData name="Eileen Fleming Suse" userId="S::efs3844@ads.northwestern.edu::725c94ef-d051-42d7-9d33-8572765d592b" providerId="AD" clId="Web-{61DCECB8-FCC4-463F-180A-DE94BEA715D4}" dt="2023-10-30T22:38:32.556" v="276"/>
        <pc:sldMkLst>
          <pc:docMk/>
          <pc:sldMk cId="534784336" sldId="628"/>
        </pc:sldMkLst>
      </pc:sldChg>
      <pc:sldChg chg="del">
        <pc:chgData name="Eileen Fleming Suse" userId="S::efs3844@ads.northwestern.edu::725c94ef-d051-42d7-9d33-8572765d592b" providerId="AD" clId="Web-{61DCECB8-FCC4-463F-180A-DE94BEA715D4}" dt="2023-10-30T22:38:32.556" v="277"/>
        <pc:sldMkLst>
          <pc:docMk/>
          <pc:sldMk cId="2981412015" sldId="629"/>
        </pc:sldMkLst>
      </pc:sldChg>
      <pc:sldChg chg="del">
        <pc:chgData name="Eileen Fleming Suse" userId="S::efs3844@ads.northwestern.edu::725c94ef-d051-42d7-9d33-8572765d592b" providerId="AD" clId="Web-{61DCECB8-FCC4-463F-180A-DE94BEA715D4}" dt="2023-10-30T22:38:32.541" v="273"/>
        <pc:sldMkLst>
          <pc:docMk/>
          <pc:sldMk cId="411397640" sldId="635"/>
        </pc:sldMkLst>
      </pc:sldChg>
      <pc:sldChg chg="del">
        <pc:chgData name="Eileen Fleming Suse" userId="S::efs3844@ads.northwestern.edu::725c94ef-d051-42d7-9d33-8572765d592b" providerId="AD" clId="Web-{61DCECB8-FCC4-463F-180A-DE94BEA715D4}" dt="2023-10-30T22:38:32.556" v="275"/>
        <pc:sldMkLst>
          <pc:docMk/>
          <pc:sldMk cId="975286347" sldId="636"/>
        </pc:sldMkLst>
      </pc:sldChg>
      <pc:sldChg chg="del">
        <pc:chgData name="Eileen Fleming Suse" userId="S::efs3844@ads.northwestern.edu::725c94ef-d051-42d7-9d33-8572765d592b" providerId="AD" clId="Web-{61DCECB8-FCC4-463F-180A-DE94BEA715D4}" dt="2023-10-30T22:39:33.089" v="297"/>
        <pc:sldMkLst>
          <pc:docMk/>
          <pc:sldMk cId="3321596273" sldId="640"/>
        </pc:sldMkLst>
      </pc:sldChg>
      <pc:sldChg chg="del">
        <pc:chgData name="Eileen Fleming Suse" userId="S::efs3844@ads.northwestern.edu::725c94ef-d051-42d7-9d33-8572765d592b" providerId="AD" clId="Web-{61DCECB8-FCC4-463F-180A-DE94BEA715D4}" dt="2023-10-30T22:47:53.494" v="365"/>
        <pc:sldMkLst>
          <pc:docMk/>
          <pc:sldMk cId="2460321206" sldId="641"/>
        </pc:sldMkLst>
      </pc:sldChg>
      <pc:sldChg chg="modSp">
        <pc:chgData name="Eileen Fleming Suse" userId="S::efs3844@ads.northwestern.edu::725c94ef-d051-42d7-9d33-8572765d592b" providerId="AD" clId="Web-{61DCECB8-FCC4-463F-180A-DE94BEA715D4}" dt="2023-10-30T22:49:41.685" v="398" actId="20577"/>
        <pc:sldMkLst>
          <pc:docMk/>
          <pc:sldMk cId="113281680" sldId="642"/>
        </pc:sldMkLst>
        <pc:spChg chg="mod">
          <ac:chgData name="Eileen Fleming Suse" userId="S::efs3844@ads.northwestern.edu::725c94ef-d051-42d7-9d33-8572765d592b" providerId="AD" clId="Web-{61DCECB8-FCC4-463F-180A-DE94BEA715D4}" dt="2023-10-30T22:49:41.685" v="398" actId="20577"/>
          <ac:spMkLst>
            <pc:docMk/>
            <pc:sldMk cId="113281680" sldId="642"/>
            <ac:spMk id="2" creationId="{F4AFEDD1-1B2F-10C8-9EFB-EFBD0CAB6989}"/>
          </ac:spMkLst>
        </pc:spChg>
      </pc:sldChg>
      <pc:sldChg chg="addSp delSp modSp add replId">
        <pc:chgData name="Eileen Fleming Suse" userId="S::efs3844@ads.northwestern.edu::725c94ef-d051-42d7-9d33-8572765d592b" providerId="AD" clId="Web-{61DCECB8-FCC4-463F-180A-DE94BEA715D4}" dt="2023-10-30T22:45:26.052" v="333" actId="1076"/>
        <pc:sldMkLst>
          <pc:docMk/>
          <pc:sldMk cId="2443892533" sldId="643"/>
        </pc:sldMkLst>
        <pc:spChg chg="mod">
          <ac:chgData name="Eileen Fleming Suse" userId="S::efs3844@ads.northwestern.edu::725c94ef-d051-42d7-9d33-8572765d592b" providerId="AD" clId="Web-{61DCECB8-FCC4-463F-180A-DE94BEA715D4}" dt="2023-10-30T20:11:56.425" v="228"/>
          <ac:spMkLst>
            <pc:docMk/>
            <pc:sldMk cId="2443892533" sldId="643"/>
            <ac:spMk id="2" creationId="{85302686-DF06-3304-66CB-1E21F4D086DC}"/>
          </ac:spMkLst>
        </pc:spChg>
        <pc:spChg chg="mod">
          <ac:chgData name="Eileen Fleming Suse" userId="S::efs3844@ads.northwestern.edu::725c94ef-d051-42d7-9d33-8572765d592b" providerId="AD" clId="Web-{61DCECB8-FCC4-463F-180A-DE94BEA715D4}" dt="2023-10-30T22:44:31.473" v="326" actId="1076"/>
          <ac:spMkLst>
            <pc:docMk/>
            <pc:sldMk cId="2443892533" sldId="643"/>
            <ac:spMk id="3" creationId="{E7ECD19B-85BC-6652-2856-676802964CFA}"/>
          </ac:spMkLst>
        </pc:spChg>
        <pc:spChg chg="add mod">
          <ac:chgData name="Eileen Fleming Suse" userId="S::efs3844@ads.northwestern.edu::725c94ef-d051-42d7-9d33-8572765d592b" providerId="AD" clId="Web-{61DCECB8-FCC4-463F-180A-DE94BEA715D4}" dt="2023-10-30T22:45:26.052" v="333" actId="1076"/>
          <ac:spMkLst>
            <pc:docMk/>
            <pc:sldMk cId="2443892533" sldId="643"/>
            <ac:spMk id="10" creationId="{F7DE78CF-32A6-61A0-EEC5-F837E089D3A4}"/>
          </ac:spMkLst>
        </pc:spChg>
        <pc:picChg chg="add mod">
          <ac:chgData name="Eileen Fleming Suse" userId="S::efs3844@ads.northwestern.edu::725c94ef-d051-42d7-9d33-8572765d592b" providerId="AD" clId="Web-{61DCECB8-FCC4-463F-180A-DE94BEA715D4}" dt="2023-10-30T22:44:40.629" v="327" actId="1076"/>
          <ac:picMkLst>
            <pc:docMk/>
            <pc:sldMk cId="2443892533" sldId="643"/>
            <ac:picMk id="6" creationId="{3066B4FD-BDBD-74CF-7224-C3F9CDFF7807}"/>
          </ac:picMkLst>
        </pc:picChg>
        <pc:picChg chg="add mod">
          <ac:chgData name="Eileen Fleming Suse" userId="S::efs3844@ads.northwestern.edu::725c94ef-d051-42d7-9d33-8572765d592b" providerId="AD" clId="Web-{61DCECB8-FCC4-463F-180A-DE94BEA715D4}" dt="2023-10-30T22:44:49.645" v="328" actId="1076"/>
          <ac:picMkLst>
            <pc:docMk/>
            <pc:sldMk cId="2443892533" sldId="643"/>
            <ac:picMk id="7" creationId="{8561AC10-C045-61C5-C572-29E58C8EEF9B}"/>
          </ac:picMkLst>
        </pc:picChg>
        <pc:picChg chg="add del mod">
          <ac:chgData name="Eileen Fleming Suse" userId="S::efs3844@ads.northwestern.edu::725c94ef-d051-42d7-9d33-8572765d592b" providerId="AD" clId="Web-{61DCECB8-FCC4-463F-180A-DE94BEA715D4}" dt="2023-10-30T22:42:02.500" v="309"/>
          <ac:picMkLst>
            <pc:docMk/>
            <pc:sldMk cId="2443892533" sldId="643"/>
            <ac:picMk id="8" creationId="{56E0414E-9ADF-67F2-0036-4AC949F0B367}"/>
          </ac:picMkLst>
        </pc:picChg>
        <pc:picChg chg="add mod">
          <ac:chgData name="Eileen Fleming Suse" userId="S::efs3844@ads.northwestern.edu::725c94ef-d051-42d7-9d33-8572765d592b" providerId="AD" clId="Web-{61DCECB8-FCC4-463F-180A-DE94BEA715D4}" dt="2023-10-30T22:45:16.927" v="332" actId="14100"/>
          <ac:picMkLst>
            <pc:docMk/>
            <pc:sldMk cId="2443892533" sldId="643"/>
            <ac:picMk id="9" creationId="{EBD31F80-F4AE-0A76-9CD2-E23AD71C79DA}"/>
          </ac:picMkLst>
        </pc:picChg>
      </pc:sldChg>
    </pc:docChg>
  </pc:docChgLst>
  <pc:docChgLst>
    <pc:chgData name="Caldarelli, Leslie" userId="S::lcaldarelli_luriechildrens.org#ext#@nuwildcat.onmicrosoft.com::cd79b54d-c14e-4199-a04a-39c6f592e710" providerId="AD" clId="Web-{3A3E4FEE-6F9B-7EC3-B167-3C31BBE96824}"/>
    <pc:docChg chg="modSld">
      <pc:chgData name="Caldarelli, Leslie" userId="S::lcaldarelli_luriechildrens.org#ext#@nuwildcat.onmicrosoft.com::cd79b54d-c14e-4199-a04a-39c6f592e710" providerId="AD" clId="Web-{3A3E4FEE-6F9B-7EC3-B167-3C31BBE96824}" dt="2023-10-31T16:46:24.002" v="562"/>
      <pc:docMkLst>
        <pc:docMk/>
      </pc:docMkLst>
      <pc:sldChg chg="modSp">
        <pc:chgData name="Caldarelli, Leslie" userId="S::lcaldarelli_luriechildrens.org#ext#@nuwildcat.onmicrosoft.com::cd79b54d-c14e-4199-a04a-39c6f592e710" providerId="AD" clId="Web-{3A3E4FEE-6F9B-7EC3-B167-3C31BBE96824}" dt="2023-10-31T15:32:47.201" v="7" actId="20577"/>
        <pc:sldMkLst>
          <pc:docMk/>
          <pc:sldMk cId="3127921386" sldId="280"/>
        </pc:sldMkLst>
        <pc:spChg chg="mod">
          <ac:chgData name="Caldarelli, Leslie" userId="S::lcaldarelli_luriechildrens.org#ext#@nuwildcat.onmicrosoft.com::cd79b54d-c14e-4199-a04a-39c6f592e710" providerId="AD" clId="Web-{3A3E4FEE-6F9B-7EC3-B167-3C31BBE96824}" dt="2023-10-31T15:32:47.201" v="7" actId="20577"/>
          <ac:spMkLst>
            <pc:docMk/>
            <pc:sldMk cId="3127921386" sldId="280"/>
            <ac:spMk id="9" creationId="{7F20A429-9947-F447-2DF2-A5C17B5C6EC1}"/>
          </ac:spMkLst>
        </pc:spChg>
      </pc:sldChg>
      <pc:sldChg chg="modSp">
        <pc:chgData name="Caldarelli, Leslie" userId="S::lcaldarelli_luriechildrens.org#ext#@nuwildcat.onmicrosoft.com::cd79b54d-c14e-4199-a04a-39c6f592e710" providerId="AD" clId="Web-{3A3E4FEE-6F9B-7EC3-B167-3C31BBE96824}" dt="2023-10-31T15:41:06.250" v="123" actId="1076"/>
        <pc:sldMkLst>
          <pc:docMk/>
          <pc:sldMk cId="3635595752" sldId="545"/>
        </pc:sldMkLst>
        <pc:spChg chg="mod">
          <ac:chgData name="Caldarelli, Leslie" userId="S::lcaldarelli_luriechildrens.org#ext#@nuwildcat.onmicrosoft.com::cd79b54d-c14e-4199-a04a-39c6f592e710" providerId="AD" clId="Web-{3A3E4FEE-6F9B-7EC3-B167-3C31BBE96824}" dt="2023-10-31T15:41:06.250" v="123" actId="1076"/>
          <ac:spMkLst>
            <pc:docMk/>
            <pc:sldMk cId="3635595752" sldId="545"/>
            <ac:spMk id="2" creationId="{39AAB3FF-760A-B654-5F1B-78AD5BEB6B57}"/>
          </ac:spMkLst>
        </pc:spChg>
      </pc:sldChg>
      <pc:sldChg chg="modNotes">
        <pc:chgData name="Caldarelli, Leslie" userId="S::lcaldarelli_luriechildrens.org#ext#@nuwildcat.onmicrosoft.com::cd79b54d-c14e-4199-a04a-39c6f592e710" providerId="AD" clId="Web-{3A3E4FEE-6F9B-7EC3-B167-3C31BBE96824}" dt="2023-10-31T16:30:46.170" v="461"/>
        <pc:sldMkLst>
          <pc:docMk/>
          <pc:sldMk cId="3745706804" sldId="548"/>
        </pc:sldMkLst>
      </pc:sldChg>
      <pc:sldChg chg="addSp delSp modSp mod setBg addAnim delAnim setClrOvrMap">
        <pc:chgData name="Caldarelli, Leslie" userId="S::lcaldarelli_luriechildrens.org#ext#@nuwildcat.onmicrosoft.com::cd79b54d-c14e-4199-a04a-39c6f592e710" providerId="AD" clId="Web-{3A3E4FEE-6F9B-7EC3-B167-3C31BBE96824}" dt="2023-10-31T16:35:55.119" v="485" actId="20577"/>
        <pc:sldMkLst>
          <pc:docMk/>
          <pc:sldMk cId="3962270618" sldId="549"/>
        </pc:sldMkLst>
        <pc:spChg chg="mod">
          <ac:chgData name="Caldarelli, Leslie" userId="S::lcaldarelli_luriechildrens.org#ext#@nuwildcat.onmicrosoft.com::cd79b54d-c14e-4199-a04a-39c6f592e710" providerId="AD" clId="Web-{3A3E4FEE-6F9B-7EC3-B167-3C31BBE96824}" dt="2023-10-31T16:35:55.119" v="485"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3A3E4FEE-6F9B-7EC3-B167-3C31BBE96824}" dt="2023-10-31T16:35:19.696" v="483"/>
          <ac:spMkLst>
            <pc:docMk/>
            <pc:sldMk cId="3962270618" sldId="549"/>
            <ac:spMk id="3" creationId="{CBB95935-58B8-573E-DAFB-D9AE51F0FF09}"/>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9" creationId="{C1DD1A8A-57D5-4A81-AD04-532B043C5611}"/>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11" creationId="{007891EC-4501-44ED-A8C8-B11B6DB767AB}"/>
          </ac:spMkLst>
        </pc:spChg>
        <pc:spChg chg="add del">
          <ac:chgData name="Caldarelli, Leslie" userId="S::lcaldarelli_luriechildrens.org#ext#@nuwildcat.onmicrosoft.com::cd79b54d-c14e-4199-a04a-39c6f592e710" providerId="AD" clId="Web-{3A3E4FEE-6F9B-7EC3-B167-3C31BBE96824}" dt="2023-10-31T16:34:55.773" v="474"/>
          <ac:spMkLst>
            <pc:docMk/>
            <pc:sldMk cId="3962270618" sldId="549"/>
            <ac:spMk id="13" creationId="{71B2258F-86CA-4D4D-8270-BC05FCDEBFB3}"/>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6" creationId="{C1DD1A8A-57D5-4A81-AD04-532B043C5611}"/>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8" creationId="{007891EC-4501-44ED-A8C8-B11B6DB767AB}"/>
          </ac:spMkLst>
        </pc:spChg>
        <pc:spChg chg="add del">
          <ac:chgData name="Caldarelli, Leslie" userId="S::lcaldarelli_luriechildrens.org#ext#@nuwildcat.onmicrosoft.com::cd79b54d-c14e-4199-a04a-39c6f592e710" providerId="AD" clId="Web-{3A3E4FEE-6F9B-7EC3-B167-3C31BBE96824}" dt="2023-10-31T16:35:19.633" v="482"/>
          <ac:spMkLst>
            <pc:docMk/>
            <pc:sldMk cId="3962270618" sldId="549"/>
            <ac:spMk id="20" creationId="{71B2258F-86CA-4D4D-8270-BC05FCDEBFB3}"/>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3" creationId="{C1DD1A8A-57D5-4A81-AD04-532B043C5611}"/>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5" creationId="{007891EC-4501-44ED-A8C8-B11B6DB767AB}"/>
          </ac:spMkLst>
        </pc:spChg>
        <pc:picChg chg="add del">
          <ac:chgData name="Caldarelli, Leslie" userId="S::lcaldarelli_luriechildrens.org#ext#@nuwildcat.onmicrosoft.com::cd79b54d-c14e-4199-a04a-39c6f592e710" providerId="AD" clId="Web-{3A3E4FEE-6F9B-7EC3-B167-3C31BBE96824}" dt="2023-10-31T16:34:44.820" v="470"/>
          <ac:picMkLst>
            <pc:docMk/>
            <pc:sldMk cId="3962270618" sldId="549"/>
            <ac:picMk id="5" creationId="{9234C1D4-BF95-D24C-8A69-890193E28AB4}"/>
          </ac:picMkLst>
        </pc:picChg>
        <pc:picChg chg="add del">
          <ac:chgData name="Caldarelli, Leslie" userId="S::lcaldarelli_luriechildrens.org#ext#@nuwildcat.onmicrosoft.com::cd79b54d-c14e-4199-a04a-39c6f592e710" providerId="AD" clId="Web-{3A3E4FEE-6F9B-7EC3-B167-3C31BBE96824}" dt="2023-10-31T16:34:55.773" v="474"/>
          <ac:picMkLst>
            <pc:docMk/>
            <pc:sldMk cId="3962270618" sldId="549"/>
            <ac:picMk id="14" creationId="{D567A817-6C54-F3A2-6BCD-40C724D6CB5B}"/>
          </ac:picMkLst>
        </pc:picChg>
        <pc:picChg chg="add del">
          <ac:chgData name="Caldarelli, Leslie" userId="S::lcaldarelli_luriechildrens.org#ext#@nuwildcat.onmicrosoft.com::cd79b54d-c14e-4199-a04a-39c6f592e710" providerId="AD" clId="Web-{3A3E4FEE-6F9B-7EC3-B167-3C31BBE96824}" dt="2023-10-31T16:35:07.935" v="478"/>
          <ac:picMkLst>
            <pc:docMk/>
            <pc:sldMk cId="3962270618" sldId="549"/>
            <ac:picMk id="17" creationId="{4F03DE1D-DDB8-CDA0-8B03-FFAB4111BF40}"/>
          </ac:picMkLst>
        </pc:picChg>
        <pc:picChg chg="add del">
          <ac:chgData name="Caldarelli, Leslie" userId="S::lcaldarelli_luriechildrens.org#ext#@nuwildcat.onmicrosoft.com::cd79b54d-c14e-4199-a04a-39c6f592e710" providerId="AD" clId="Web-{3A3E4FEE-6F9B-7EC3-B167-3C31BBE96824}" dt="2023-10-31T16:35:19.633" v="482"/>
          <ac:picMkLst>
            <pc:docMk/>
            <pc:sldMk cId="3962270618" sldId="549"/>
            <ac:picMk id="21" creationId="{D567A817-6C54-F3A2-6BCD-40C724D6CB5B}"/>
          </ac:picMkLst>
        </pc:picChg>
        <pc:picChg chg="add">
          <ac:chgData name="Caldarelli, Leslie" userId="S::lcaldarelli_luriechildrens.org#ext#@nuwildcat.onmicrosoft.com::cd79b54d-c14e-4199-a04a-39c6f592e710" providerId="AD" clId="Web-{3A3E4FEE-6F9B-7EC3-B167-3C31BBE96824}" dt="2023-10-31T16:35:19.696" v="483"/>
          <ac:picMkLst>
            <pc:docMk/>
            <pc:sldMk cId="3962270618" sldId="549"/>
            <ac:picMk id="24" creationId="{4F03DE1D-DDB8-CDA0-8B03-FFAB4111BF40}"/>
          </ac:picMkLst>
        </pc:picChg>
      </pc:sldChg>
      <pc:sldChg chg="modSp">
        <pc:chgData name="Caldarelli, Leslie" userId="S::lcaldarelli_luriechildrens.org#ext#@nuwildcat.onmicrosoft.com::cd79b54d-c14e-4199-a04a-39c6f592e710" providerId="AD" clId="Web-{3A3E4FEE-6F9B-7EC3-B167-3C31BBE96824}" dt="2023-10-31T16:34:30.288" v="468" actId="1076"/>
        <pc:sldMkLst>
          <pc:docMk/>
          <pc:sldMk cId="3472964082" sldId="550"/>
        </pc:sldMkLst>
        <pc:spChg chg="mod">
          <ac:chgData name="Caldarelli, Leslie" userId="S::lcaldarelli_luriechildrens.org#ext#@nuwildcat.onmicrosoft.com::cd79b54d-c14e-4199-a04a-39c6f592e710" providerId="AD" clId="Web-{3A3E4FEE-6F9B-7EC3-B167-3C31BBE96824}" dt="2023-10-31T16:34:30.288" v="468" actId="1076"/>
          <ac:spMkLst>
            <pc:docMk/>
            <pc:sldMk cId="3472964082" sldId="550"/>
            <ac:spMk id="14"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33:34.098" v="466" actId="1076"/>
        <pc:sldMkLst>
          <pc:docMk/>
          <pc:sldMk cId="2562283095" sldId="551"/>
        </pc:sldMkLst>
        <pc:spChg chg="mod">
          <ac:chgData name="Caldarelli, Leslie" userId="S::lcaldarelli_luriechildrens.org#ext#@nuwildcat.onmicrosoft.com::cd79b54d-c14e-4199-a04a-39c6f592e710" providerId="AD" clId="Web-{3A3E4FEE-6F9B-7EC3-B167-3C31BBE96824}" dt="2023-10-31T16:32:28.205" v="464" actId="1076"/>
          <ac:spMkLst>
            <pc:docMk/>
            <pc:sldMk cId="2562283095" sldId="551"/>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3:29.832" v="465" actId="1076"/>
          <ac:spMkLst>
            <pc:docMk/>
            <pc:sldMk cId="2562283095" sldId="551"/>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3:34.098" v="466" actId="1076"/>
          <ac:grpSpMkLst>
            <pc:docMk/>
            <pc:sldMk cId="2562283095" sldId="551"/>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5:37:36.618" v="67" actId="1076"/>
        <pc:sldMkLst>
          <pc:docMk/>
          <pc:sldMk cId="714682852" sldId="552"/>
        </pc:sldMkLst>
        <pc:spChg chg="mod">
          <ac:chgData name="Caldarelli, Leslie" userId="S::lcaldarelli_luriechildrens.org#ext#@nuwildcat.onmicrosoft.com::cd79b54d-c14e-4199-a04a-39c6f592e710" providerId="AD" clId="Web-{3A3E4FEE-6F9B-7EC3-B167-3C31BBE96824}" dt="2023-10-31T15:37:36.618" v="67" actId="1076"/>
          <ac:spMkLst>
            <pc:docMk/>
            <pc:sldMk cId="714682852" sldId="552"/>
            <ac:spMk id="19" creationId="{8F56D947-B18E-6292-FB32-17E6BBE1C7B7}"/>
          </ac:spMkLst>
        </pc:spChg>
      </pc:sldChg>
      <pc:sldChg chg="modSp">
        <pc:chgData name="Caldarelli, Leslie" userId="S::lcaldarelli_luriechildrens.org#ext#@nuwildcat.onmicrosoft.com::cd79b54d-c14e-4199-a04a-39c6f592e710" providerId="AD" clId="Web-{3A3E4FEE-6F9B-7EC3-B167-3C31BBE96824}" dt="2023-10-31T15:39:37.794" v="95" actId="14100"/>
        <pc:sldMkLst>
          <pc:docMk/>
          <pc:sldMk cId="1522616096" sldId="555"/>
        </pc:sldMkLst>
        <pc:spChg chg="mod">
          <ac:chgData name="Caldarelli, Leslie" userId="S::lcaldarelli_luriechildrens.org#ext#@nuwildcat.onmicrosoft.com::cd79b54d-c14e-4199-a04a-39c6f592e710" providerId="AD" clId="Web-{3A3E4FEE-6F9B-7EC3-B167-3C31BBE96824}" dt="2023-10-31T15:39:37.794" v="95" actId="14100"/>
          <ac:spMkLst>
            <pc:docMk/>
            <pc:sldMk cId="1522616096" sldId="555"/>
            <ac:spMk id="2" creationId="{F40AE700-1499-46B3-C70A-C723802CD680}"/>
          </ac:spMkLst>
        </pc:spChg>
      </pc:sldChg>
      <pc:sldChg chg="modSp modNotes">
        <pc:chgData name="Caldarelli, Leslie" userId="S::lcaldarelli_luriechildrens.org#ext#@nuwildcat.onmicrosoft.com::cd79b54d-c14e-4199-a04a-39c6f592e710" providerId="AD" clId="Web-{3A3E4FEE-6F9B-7EC3-B167-3C31BBE96824}" dt="2023-10-31T15:36:18.880" v="66"/>
        <pc:sldMkLst>
          <pc:docMk/>
          <pc:sldMk cId="1514756035" sldId="556"/>
        </pc:sldMkLst>
        <pc:spChg chg="mod">
          <ac:chgData name="Caldarelli, Leslie" userId="S::lcaldarelli_luriechildrens.org#ext#@nuwildcat.onmicrosoft.com::cd79b54d-c14e-4199-a04a-39c6f592e710" providerId="AD" clId="Web-{3A3E4FEE-6F9B-7EC3-B167-3C31BBE96824}" dt="2023-10-31T15:34:46.736" v="60" actId="20577"/>
          <ac:spMkLst>
            <pc:docMk/>
            <pc:sldMk cId="1514756035" sldId="556"/>
            <ac:spMk id="48" creationId="{9DA002CE-213B-0EFE-03DC-C3DB65BCF003}"/>
          </ac:spMkLst>
        </pc:spChg>
      </pc:sldChg>
      <pc:sldChg chg="modSp">
        <pc:chgData name="Caldarelli, Leslie" userId="S::lcaldarelli_luriechildrens.org#ext#@nuwildcat.onmicrosoft.com::cd79b54d-c14e-4199-a04a-39c6f592e710" providerId="AD" clId="Web-{3A3E4FEE-6F9B-7EC3-B167-3C31BBE96824}" dt="2023-10-31T15:42:29.409" v="146" actId="20577"/>
        <pc:sldMkLst>
          <pc:docMk/>
          <pc:sldMk cId="773696652" sldId="558"/>
        </pc:sldMkLst>
        <pc:spChg chg="mod">
          <ac:chgData name="Caldarelli, Leslie" userId="S::lcaldarelli_luriechildrens.org#ext#@nuwildcat.onmicrosoft.com::cd79b54d-c14e-4199-a04a-39c6f592e710" providerId="AD" clId="Web-{3A3E4FEE-6F9B-7EC3-B167-3C31BBE96824}" dt="2023-10-31T15:42:29.409" v="146" actId="20577"/>
          <ac:spMkLst>
            <pc:docMk/>
            <pc:sldMk cId="773696652" sldId="558"/>
            <ac:spMk id="2" creationId="{F40AE700-1499-46B3-C70A-C723802CD680}"/>
          </ac:spMkLst>
        </pc:spChg>
      </pc:sldChg>
      <pc:sldChg chg="modSp">
        <pc:chgData name="Caldarelli, Leslie" userId="S::lcaldarelli_luriechildrens.org#ext#@nuwildcat.onmicrosoft.com::cd79b54d-c14e-4199-a04a-39c6f592e710" providerId="AD" clId="Web-{3A3E4FEE-6F9B-7EC3-B167-3C31BBE96824}" dt="2023-10-31T16:36:35.433" v="487" actId="20577"/>
        <pc:sldMkLst>
          <pc:docMk/>
          <pc:sldMk cId="3067427377" sldId="560"/>
        </pc:sldMkLst>
        <pc:spChg chg="mod">
          <ac:chgData name="Caldarelli, Leslie" userId="S::lcaldarelli_luriechildrens.org#ext#@nuwildcat.onmicrosoft.com::cd79b54d-c14e-4199-a04a-39c6f592e710" providerId="AD" clId="Web-{3A3E4FEE-6F9B-7EC3-B167-3C31BBE96824}" dt="2023-10-31T16:36:35.433" v="487"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3A3E4FEE-6F9B-7EC3-B167-3C31BBE96824}" dt="2023-10-31T15:57:10.707" v="211" actId="1076"/>
        <pc:sldMkLst>
          <pc:docMk/>
          <pc:sldMk cId="3845418986" sldId="563"/>
        </pc:sldMkLst>
        <pc:spChg chg="mod">
          <ac:chgData name="Caldarelli, Leslie" userId="S::lcaldarelli_luriechildrens.org#ext#@nuwildcat.onmicrosoft.com::cd79b54d-c14e-4199-a04a-39c6f592e710" providerId="AD" clId="Web-{3A3E4FEE-6F9B-7EC3-B167-3C31BBE96824}" dt="2023-10-31T15:57:10.707" v="211" actId="1076"/>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3A3E4FEE-6F9B-7EC3-B167-3C31BBE96824}" dt="2023-10-31T16:06:34.337" v="245" actId="1076"/>
        <pc:sldMkLst>
          <pc:docMk/>
          <pc:sldMk cId="3419957415" sldId="577"/>
        </pc:sldMkLst>
        <pc:spChg chg="mod">
          <ac:chgData name="Caldarelli, Leslie" userId="S::lcaldarelli_luriechildrens.org#ext#@nuwildcat.onmicrosoft.com::cd79b54d-c14e-4199-a04a-39c6f592e710" providerId="AD" clId="Web-{3A3E4FEE-6F9B-7EC3-B167-3C31BBE96824}" dt="2023-10-31T15:55:30.219" v="210" actId="1076"/>
          <ac:spMkLst>
            <pc:docMk/>
            <pc:sldMk cId="3419957415" sldId="577"/>
            <ac:spMk id="23" creationId="{00000000-0000-0000-0000-000000000000}"/>
          </ac:spMkLst>
        </pc:spChg>
        <pc:spChg chg="mod">
          <ac:chgData name="Caldarelli, Leslie" userId="S::lcaldarelli_luriechildrens.org#ext#@nuwildcat.onmicrosoft.com::cd79b54d-c14e-4199-a04a-39c6f592e710" providerId="AD" clId="Web-{3A3E4FEE-6F9B-7EC3-B167-3C31BBE96824}" dt="2023-10-31T16:06:34.337" v="245" actId="1076"/>
          <ac:spMkLst>
            <pc:docMk/>
            <pc:sldMk cId="3419957415" sldId="577"/>
            <ac:spMk id="65" creationId="{28CD4543-B35F-C7BE-C5DB-7DF0067C551A}"/>
          </ac:spMkLst>
        </pc:spChg>
      </pc:sldChg>
      <pc:sldChg chg="modSp">
        <pc:chgData name="Caldarelli, Leslie" userId="S::lcaldarelli_luriechildrens.org#ext#@nuwildcat.onmicrosoft.com::cd79b54d-c14e-4199-a04a-39c6f592e710" providerId="AD" clId="Web-{3A3E4FEE-6F9B-7EC3-B167-3C31BBE96824}" dt="2023-10-31T16:22:43.293" v="377" actId="1076"/>
        <pc:sldMkLst>
          <pc:docMk/>
          <pc:sldMk cId="785115983" sldId="578"/>
        </pc:sldMkLst>
        <pc:spChg chg="mod">
          <ac:chgData name="Caldarelli, Leslie" userId="S::lcaldarelli_luriechildrens.org#ext#@nuwildcat.onmicrosoft.com::cd79b54d-c14e-4199-a04a-39c6f592e710" providerId="AD" clId="Web-{3A3E4FEE-6F9B-7EC3-B167-3C31BBE96824}" dt="2023-10-31T16:22:43.293" v="377" actId="1076"/>
          <ac:spMkLst>
            <pc:docMk/>
            <pc:sldMk cId="785115983" sldId="578"/>
            <ac:spMk id="54" creationId="{3719DC3C-330E-96DC-F3E0-D6B8EE5E5A3C}"/>
          </ac:spMkLst>
        </pc:spChg>
      </pc:sldChg>
      <pc:sldChg chg="modSp modNotes">
        <pc:chgData name="Caldarelli, Leslie" userId="S::lcaldarelli_luriechildrens.org#ext#@nuwildcat.onmicrosoft.com::cd79b54d-c14e-4199-a04a-39c6f592e710" providerId="AD" clId="Web-{3A3E4FEE-6F9B-7EC3-B167-3C31BBE96824}" dt="2023-10-31T16:19:01.207" v="317"/>
        <pc:sldMkLst>
          <pc:docMk/>
          <pc:sldMk cId="3030449316" sldId="579"/>
        </pc:sldMkLst>
        <pc:spChg chg="mod">
          <ac:chgData name="Caldarelli, Leslie" userId="S::lcaldarelli_luriechildrens.org#ext#@nuwildcat.onmicrosoft.com::cd79b54d-c14e-4199-a04a-39c6f592e710" providerId="AD" clId="Web-{3A3E4FEE-6F9B-7EC3-B167-3C31BBE96824}" dt="2023-10-31T16:18:25.362" v="289" actId="20577"/>
          <ac:spMkLst>
            <pc:docMk/>
            <pc:sldMk cId="3030449316" sldId="579"/>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15:55.341" v="280" actId="1076"/>
          <ac:spMkLst>
            <pc:docMk/>
            <pc:sldMk cId="3030449316" sldId="579"/>
            <ac:spMk id="56" creationId="{AB0F7BDF-C613-8BB0-BFCB-8F26B40EC06E}"/>
          </ac:spMkLst>
        </pc:spChg>
      </pc:sldChg>
      <pc:sldChg chg="modSp">
        <pc:chgData name="Caldarelli, Leslie" userId="S::lcaldarelli_luriechildrens.org#ext#@nuwildcat.onmicrosoft.com::cd79b54d-c14e-4199-a04a-39c6f592e710" providerId="AD" clId="Web-{3A3E4FEE-6F9B-7EC3-B167-3C31BBE96824}" dt="2023-10-31T16:05:55.132" v="238" actId="14100"/>
        <pc:sldMkLst>
          <pc:docMk/>
          <pc:sldMk cId="4283907660" sldId="580"/>
        </pc:sldMkLst>
        <pc:spChg chg="mod">
          <ac:chgData name="Caldarelli, Leslie" userId="S::lcaldarelli_luriechildrens.org#ext#@nuwildcat.onmicrosoft.com::cd79b54d-c14e-4199-a04a-39c6f592e710" providerId="AD" clId="Web-{3A3E4FEE-6F9B-7EC3-B167-3C31BBE96824}" dt="2023-10-31T16:05:55.132" v="238" actId="14100"/>
          <ac:spMkLst>
            <pc:docMk/>
            <pc:sldMk cId="4283907660" sldId="580"/>
            <ac:spMk id="71" creationId="{755536B4-F5C2-3697-61E6-0681DE0C12BD}"/>
          </ac:spMkLst>
        </pc:spChg>
      </pc:sldChg>
      <pc:sldChg chg="modSp">
        <pc:chgData name="Caldarelli, Leslie" userId="S::lcaldarelli_luriechildrens.org#ext#@nuwildcat.onmicrosoft.com::cd79b54d-c14e-4199-a04a-39c6f592e710" providerId="AD" clId="Web-{3A3E4FEE-6F9B-7EC3-B167-3C31BBE96824}" dt="2023-10-31T16:06:16.117" v="242" actId="1076"/>
        <pc:sldMkLst>
          <pc:docMk/>
          <pc:sldMk cId="3429940818" sldId="581"/>
        </pc:sldMkLst>
        <pc:spChg chg="mod">
          <ac:chgData name="Caldarelli, Leslie" userId="S::lcaldarelli_luriechildrens.org#ext#@nuwildcat.onmicrosoft.com::cd79b54d-c14e-4199-a04a-39c6f592e710" providerId="AD" clId="Web-{3A3E4FEE-6F9B-7EC3-B167-3C31BBE96824}" dt="2023-10-31T15:59:33.212" v="212" actId="1076"/>
          <ac:spMkLst>
            <pc:docMk/>
            <pc:sldMk cId="3429940818" sldId="581"/>
            <ac:spMk id="68" creationId="{00000000-0000-0000-0000-000000000000}"/>
          </ac:spMkLst>
        </pc:spChg>
        <pc:spChg chg="mod">
          <ac:chgData name="Caldarelli, Leslie" userId="S::lcaldarelli_luriechildrens.org#ext#@nuwildcat.onmicrosoft.com::cd79b54d-c14e-4199-a04a-39c6f592e710" providerId="AD" clId="Web-{3A3E4FEE-6F9B-7EC3-B167-3C31BBE96824}" dt="2023-10-31T16:06:16.117" v="242" actId="1076"/>
          <ac:spMkLst>
            <pc:docMk/>
            <pc:sldMk cId="3429940818" sldId="581"/>
            <ac:spMk id="75" creationId="{20D2DCD7-9B15-FB75-E33B-CECC88A394B8}"/>
          </ac:spMkLst>
        </pc:spChg>
      </pc:sldChg>
      <pc:sldChg chg="modNotes">
        <pc:chgData name="Caldarelli, Leslie" userId="S::lcaldarelli_luriechildrens.org#ext#@nuwildcat.onmicrosoft.com::cd79b54d-c14e-4199-a04a-39c6f592e710" providerId="AD" clId="Web-{3A3E4FEE-6F9B-7EC3-B167-3C31BBE96824}" dt="2023-10-31T15:44:25.335" v="147"/>
        <pc:sldMkLst>
          <pc:docMk/>
          <pc:sldMk cId="3870927286" sldId="583"/>
        </pc:sldMkLst>
      </pc:sldChg>
      <pc:sldChg chg="modSp">
        <pc:chgData name="Caldarelli, Leslie" userId="S::lcaldarelli_luriechildrens.org#ext#@nuwildcat.onmicrosoft.com::cd79b54d-c14e-4199-a04a-39c6f592e710" providerId="AD" clId="Web-{3A3E4FEE-6F9B-7EC3-B167-3C31BBE96824}" dt="2023-10-31T16:04:27.769" v="228" actId="20577"/>
        <pc:sldMkLst>
          <pc:docMk/>
          <pc:sldMk cId="3573947264" sldId="584"/>
        </pc:sldMkLst>
        <pc:spChg chg="mod">
          <ac:chgData name="Caldarelli, Leslie" userId="S::lcaldarelli_luriechildrens.org#ext#@nuwildcat.onmicrosoft.com::cd79b54d-c14e-4199-a04a-39c6f592e710" providerId="AD" clId="Web-{3A3E4FEE-6F9B-7EC3-B167-3C31BBE96824}" dt="2023-10-31T16:04:27.769" v="228" actId="20577"/>
          <ac:spMkLst>
            <pc:docMk/>
            <pc:sldMk cId="3573947264" sldId="584"/>
            <ac:spMk id="42" creationId="{E9E3C6CF-96AA-68D8-0977-EC06066DAB15}"/>
          </ac:spMkLst>
        </pc:spChg>
      </pc:sldChg>
      <pc:sldChg chg="modSp modNotes">
        <pc:chgData name="Caldarelli, Leslie" userId="S::lcaldarelli_luriechildrens.org#ext#@nuwildcat.onmicrosoft.com::cd79b54d-c14e-4199-a04a-39c6f592e710" providerId="AD" clId="Web-{3A3E4FEE-6F9B-7EC3-B167-3C31BBE96824}" dt="2023-10-31T16:30:34.998" v="460" actId="1076"/>
        <pc:sldMkLst>
          <pc:docMk/>
          <pc:sldMk cId="3561966490" sldId="585"/>
        </pc:sldMkLst>
        <pc:spChg chg="mod">
          <ac:chgData name="Caldarelli, Leslie" userId="S::lcaldarelli_luriechildrens.org#ext#@nuwildcat.onmicrosoft.com::cd79b54d-c14e-4199-a04a-39c6f592e710" providerId="AD" clId="Web-{3A3E4FEE-6F9B-7EC3-B167-3C31BBE96824}" dt="2023-10-31T16:25:13.768" v="380" actId="20577"/>
          <ac:spMkLst>
            <pc:docMk/>
            <pc:sldMk cId="3561966490" sldId="585"/>
            <ac:spMk id="10" creationId="{00000000-0000-0000-0000-000000000000}"/>
          </ac:spMkLst>
        </pc:spChg>
        <pc:spChg chg="mod">
          <ac:chgData name="Caldarelli, Leslie" userId="S::lcaldarelli_luriechildrens.org#ext#@nuwildcat.onmicrosoft.com::cd79b54d-c14e-4199-a04a-39c6f592e710" providerId="AD" clId="Web-{3A3E4FEE-6F9B-7EC3-B167-3C31BBE96824}" dt="2023-10-31T16:30:34.998" v="460" actId="1076"/>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3A3E4FEE-6F9B-7EC3-B167-3C31BBE96824}" dt="2023-10-31T16:25:17.846" v="382"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3A3E4FEE-6F9B-7EC3-B167-3C31BBE96824}" dt="2023-10-31T16:25:25.331" v="384" actId="20577"/>
          <ac:spMkLst>
            <pc:docMk/>
            <pc:sldMk cId="3561966490" sldId="585"/>
            <ac:spMk id="21" creationId="{00000000-0000-0000-0000-000000000000}"/>
          </ac:spMkLst>
        </pc:spChg>
        <pc:spChg chg="mod">
          <ac:chgData name="Caldarelli, Leslie" userId="S::lcaldarelli_luriechildrens.org#ext#@nuwildcat.onmicrosoft.com::cd79b54d-c14e-4199-a04a-39c6f592e710" providerId="AD" clId="Web-{3A3E4FEE-6F9B-7EC3-B167-3C31BBE96824}" dt="2023-10-31T16:30:08.481" v="459" actId="20577"/>
          <ac:spMkLst>
            <pc:docMk/>
            <pc:sldMk cId="3561966490" sldId="585"/>
            <ac:spMk id="22"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22:00.792" v="370"/>
        <pc:sldMkLst>
          <pc:docMk/>
          <pc:sldMk cId="3809547791" sldId="586"/>
        </pc:sldMkLst>
        <pc:spChg chg="mod">
          <ac:chgData name="Caldarelli, Leslie" userId="S::lcaldarelli_luriechildrens.org#ext#@nuwildcat.onmicrosoft.com::cd79b54d-c14e-4199-a04a-39c6f592e710" providerId="AD" clId="Web-{3A3E4FEE-6F9B-7EC3-B167-3C31BBE96824}" dt="2023-10-31T16:21:04.915" v="357" actId="14100"/>
          <ac:spMkLst>
            <pc:docMk/>
            <pc:sldMk cId="3809547791" sldId="586"/>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20:34.726" v="349" actId="20577"/>
          <ac:spMkLst>
            <pc:docMk/>
            <pc:sldMk cId="3809547791" sldId="586"/>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5:17.887" v="273" actId="20577"/>
        <pc:sldMkLst>
          <pc:docMk/>
          <pc:sldMk cId="1598854783" sldId="587"/>
        </pc:sldMkLst>
        <pc:spChg chg="mod">
          <ac:chgData name="Caldarelli, Leslie" userId="S::lcaldarelli_luriechildrens.org#ext#@nuwildcat.onmicrosoft.com::cd79b54d-c14e-4199-a04a-39c6f592e710" providerId="AD" clId="Web-{3A3E4FEE-6F9B-7EC3-B167-3C31BBE96824}" dt="2023-10-31T16:15:06.464" v="271" actId="20577"/>
          <ac:spMkLst>
            <pc:docMk/>
            <pc:sldMk cId="1598854783" sldId="587"/>
            <ac:spMk id="37" creationId="{00000000-0000-0000-0000-000000000000}"/>
          </ac:spMkLst>
        </pc:spChg>
        <pc:spChg chg="mod">
          <ac:chgData name="Caldarelli, Leslie" userId="S::lcaldarelli_luriechildrens.org#ext#@nuwildcat.onmicrosoft.com::cd79b54d-c14e-4199-a04a-39c6f592e710" providerId="AD" clId="Web-{3A3E4FEE-6F9B-7EC3-B167-3C31BBE96824}" dt="2023-10-31T16:14:11.994" v="267" actId="20577"/>
          <ac:spMkLst>
            <pc:docMk/>
            <pc:sldMk cId="1598854783" sldId="587"/>
            <ac:spMk id="38" creationId="{00000000-0000-0000-0000-000000000000}"/>
          </ac:spMkLst>
        </pc:spChg>
        <pc:spChg chg="mod">
          <ac:chgData name="Caldarelli, Leslie" userId="S::lcaldarelli_luriechildrens.org#ext#@nuwildcat.onmicrosoft.com::cd79b54d-c14e-4199-a04a-39c6f592e710" providerId="AD" clId="Web-{3A3E4FEE-6F9B-7EC3-B167-3C31BBE96824}" dt="2023-10-31T16:15:17.887" v="273" actId="20577"/>
          <ac:spMkLst>
            <pc:docMk/>
            <pc:sldMk cId="1598854783" sldId="587"/>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13:05.398" v="264" actId="20577"/>
          <ac:spMkLst>
            <pc:docMk/>
            <pc:sldMk cId="1598854783" sldId="587"/>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1:44.067" v="259" actId="20577"/>
        <pc:sldMkLst>
          <pc:docMk/>
          <pc:sldMk cId="3832963388" sldId="588"/>
        </pc:sldMkLst>
        <pc:spChg chg="mod">
          <ac:chgData name="Caldarelli, Leslie" userId="S::lcaldarelli_luriechildrens.org#ext#@nuwildcat.onmicrosoft.com::cd79b54d-c14e-4199-a04a-39c6f592e710" providerId="AD" clId="Web-{3A3E4FEE-6F9B-7EC3-B167-3C31BBE96824}" dt="2023-10-31T16:11:44.067" v="259" actId="20577"/>
          <ac:spMkLst>
            <pc:docMk/>
            <pc:sldMk cId="3832963388" sldId="588"/>
            <ac:spMk id="28"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0:32.517" v="251" actId="20577"/>
        <pc:sldMkLst>
          <pc:docMk/>
          <pc:sldMk cId="435998680" sldId="589"/>
        </pc:sldMkLst>
        <pc:spChg chg="mod">
          <ac:chgData name="Caldarelli, Leslie" userId="S::lcaldarelli_luriechildrens.org#ext#@nuwildcat.onmicrosoft.com::cd79b54d-c14e-4199-a04a-39c6f592e710" providerId="AD" clId="Web-{3A3E4FEE-6F9B-7EC3-B167-3C31BBE96824}" dt="2023-10-31T16:10:32.517" v="251"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3A3E4FEE-6F9B-7EC3-B167-3C31BBE96824}" dt="2023-10-31T16:09:46.297" v="250" actId="20577"/>
          <ac:spMkLst>
            <pc:docMk/>
            <pc:sldMk cId="435998680" sldId="589"/>
            <ac:spMk id="14"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7:59.183" v="247" actId="14100"/>
        <pc:sldMkLst>
          <pc:docMk/>
          <pc:sldMk cId="595546358" sldId="590"/>
        </pc:sldMkLst>
        <pc:spChg chg="mod">
          <ac:chgData name="Caldarelli, Leslie" userId="S::lcaldarelli_luriechildrens.org#ext#@nuwildcat.onmicrosoft.com::cd79b54d-c14e-4199-a04a-39c6f592e710" providerId="AD" clId="Web-{3A3E4FEE-6F9B-7EC3-B167-3C31BBE96824}" dt="2023-10-31T16:07:59.183" v="247" actId="14100"/>
          <ac:spMkLst>
            <pc:docMk/>
            <pc:sldMk cId="595546358" sldId="590"/>
            <ac:spMk id="26" creationId="{00000000-0000-0000-0000-000000000000}"/>
          </ac:spMkLst>
        </pc:spChg>
        <pc:grpChg chg="mod">
          <ac:chgData name="Caldarelli, Leslie" userId="S::lcaldarelli_luriechildrens.org#ext#@nuwildcat.onmicrosoft.com::cd79b54d-c14e-4199-a04a-39c6f592e710" providerId="AD" clId="Web-{3A3E4FEE-6F9B-7EC3-B167-3C31BBE96824}" dt="2023-10-31T16:07:50.371" v="246" actId="1076"/>
          <ac:grpSpMkLst>
            <pc:docMk/>
            <pc:sldMk cId="595546358" sldId="590"/>
            <ac:grpSpMk id="11"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01:40.623" v="217" actId="14100"/>
        <pc:sldMkLst>
          <pc:docMk/>
          <pc:sldMk cId="629433230" sldId="591"/>
        </pc:sldMkLst>
        <pc:spChg chg="mod">
          <ac:chgData name="Caldarelli, Leslie" userId="S::lcaldarelli_luriechildrens.org#ext#@nuwildcat.onmicrosoft.com::cd79b54d-c14e-4199-a04a-39c6f592e710" providerId="AD" clId="Web-{3A3E4FEE-6F9B-7EC3-B167-3C31BBE96824}" dt="2023-10-31T16:01:40.623" v="217" actId="14100"/>
          <ac:spMkLst>
            <pc:docMk/>
            <pc:sldMk cId="629433230" sldId="591"/>
            <ac:spMk id="20"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4:35.082" v="230" actId="20577"/>
        <pc:sldMkLst>
          <pc:docMk/>
          <pc:sldMk cId="1210022179" sldId="617"/>
        </pc:sldMkLst>
        <pc:spChg chg="mod">
          <ac:chgData name="Caldarelli, Leslie" userId="S::lcaldarelli_luriechildrens.org#ext#@nuwildcat.onmicrosoft.com::cd79b54d-c14e-4199-a04a-39c6f592e710" providerId="AD" clId="Web-{3A3E4FEE-6F9B-7EC3-B167-3C31BBE96824}" dt="2023-10-31T16:04:35.082" v="230" actId="20577"/>
          <ac:spMkLst>
            <pc:docMk/>
            <pc:sldMk cId="1210022179" sldId="617"/>
            <ac:spMk id="42" creationId="{E9E3C6CF-96AA-68D8-0977-EC06066DAB15}"/>
          </ac:spMkLst>
        </pc:spChg>
      </pc:sldChg>
      <pc:sldChg chg="modNotes">
        <pc:chgData name="Caldarelli, Leslie" userId="S::lcaldarelli_luriechildrens.org#ext#@nuwildcat.onmicrosoft.com::cd79b54d-c14e-4199-a04a-39c6f592e710" providerId="AD" clId="Web-{3A3E4FEE-6F9B-7EC3-B167-3C31BBE96824}" dt="2023-10-31T15:54:09.997" v="209"/>
        <pc:sldMkLst>
          <pc:docMk/>
          <pc:sldMk cId="3850125703" sldId="622"/>
        </pc:sldMkLst>
      </pc:sldChg>
      <pc:sldChg chg="modSp">
        <pc:chgData name="Caldarelli, Leslie" userId="S::lcaldarelli_luriechildrens.org#ext#@nuwildcat.onmicrosoft.com::cd79b54d-c14e-4199-a04a-39c6f592e710" providerId="AD" clId="Web-{3A3E4FEE-6F9B-7EC3-B167-3C31BBE96824}" dt="2023-10-31T16:04:40.692" v="231" actId="20577"/>
        <pc:sldMkLst>
          <pc:docMk/>
          <pc:sldMk cId="2561278274" sldId="630"/>
        </pc:sldMkLst>
        <pc:spChg chg="mod">
          <ac:chgData name="Caldarelli, Leslie" userId="S::lcaldarelli_luriechildrens.org#ext#@nuwildcat.onmicrosoft.com::cd79b54d-c14e-4199-a04a-39c6f592e710" providerId="AD" clId="Web-{3A3E4FEE-6F9B-7EC3-B167-3C31BBE96824}" dt="2023-10-31T16:04:40.692" v="231" actId="20577"/>
          <ac:spMkLst>
            <pc:docMk/>
            <pc:sldMk cId="2561278274" sldId="630"/>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04:46.880" v="233" actId="20577"/>
        <pc:sldMkLst>
          <pc:docMk/>
          <pc:sldMk cId="488873692" sldId="631"/>
        </pc:sldMkLst>
        <pc:spChg chg="mod">
          <ac:chgData name="Caldarelli, Leslie" userId="S::lcaldarelli_luriechildrens.org#ext#@nuwildcat.onmicrosoft.com::cd79b54d-c14e-4199-a04a-39c6f592e710" providerId="AD" clId="Web-{3A3E4FEE-6F9B-7EC3-B167-3C31BBE96824}" dt="2023-10-31T16:04:46.880" v="233" actId="20577"/>
          <ac:spMkLst>
            <pc:docMk/>
            <pc:sldMk cId="488873692" sldId="631"/>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15:37.372" v="277" actId="20577"/>
        <pc:sldMkLst>
          <pc:docMk/>
          <pc:sldMk cId="3115055849" sldId="632"/>
        </pc:sldMkLst>
        <pc:spChg chg="mod">
          <ac:chgData name="Caldarelli, Leslie" userId="S::lcaldarelli_luriechildrens.org#ext#@nuwildcat.onmicrosoft.com::cd79b54d-c14e-4199-a04a-39c6f592e710" providerId="AD" clId="Web-{3A3E4FEE-6F9B-7EC3-B167-3C31BBE96824}" dt="2023-10-31T16:15:37.372" v="277" actId="20577"/>
          <ac:spMkLst>
            <pc:docMk/>
            <pc:sldMk cId="3115055849" sldId="632"/>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22:31.574" v="374" actId="20577"/>
        <pc:sldMkLst>
          <pc:docMk/>
          <pc:sldMk cId="3999708931" sldId="633"/>
        </pc:sldMkLst>
        <pc:spChg chg="mod">
          <ac:chgData name="Caldarelli, Leslie" userId="S::lcaldarelli_luriechildrens.org#ext#@nuwildcat.onmicrosoft.com::cd79b54d-c14e-4199-a04a-39c6f592e710" providerId="AD" clId="Web-{3A3E4FEE-6F9B-7EC3-B167-3C31BBE96824}" dt="2023-10-31T16:22:31.574" v="374" actId="20577"/>
          <ac:spMkLst>
            <pc:docMk/>
            <pc:sldMk cId="3999708931" sldId="633"/>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5:33:52.641" v="54" actId="20577"/>
        <pc:sldMkLst>
          <pc:docMk/>
          <pc:sldMk cId="1271905251" sldId="637"/>
        </pc:sldMkLst>
        <pc:spChg chg="mod">
          <ac:chgData name="Caldarelli, Leslie" userId="S::lcaldarelli_luriechildrens.org#ext#@nuwildcat.onmicrosoft.com::cd79b54d-c14e-4199-a04a-39c6f592e710" providerId="AD" clId="Web-{3A3E4FEE-6F9B-7EC3-B167-3C31BBE96824}" dt="2023-10-31T15:33:52.641" v="54" actId="20577"/>
          <ac:spMkLst>
            <pc:docMk/>
            <pc:sldMk cId="1271905251" sldId="637"/>
            <ac:spMk id="3" creationId="{38BD8A99-C590-643F-CF50-2EEC68347C9C}"/>
          </ac:spMkLst>
        </pc:spChg>
      </pc:sldChg>
      <pc:sldChg chg="addSp delSp modSp mod setBg addAnim setClrOvrMap modNotes">
        <pc:chgData name="Caldarelli, Leslie" userId="S::lcaldarelli_luriechildrens.org#ext#@nuwildcat.onmicrosoft.com::cd79b54d-c14e-4199-a04a-39c6f592e710" providerId="AD" clId="Web-{3A3E4FEE-6F9B-7EC3-B167-3C31BBE96824}" dt="2023-10-31T16:46:24.002" v="562"/>
        <pc:sldMkLst>
          <pc:docMk/>
          <pc:sldMk cId="3557549611" sldId="639"/>
        </pc:sldMkLst>
        <pc:spChg chg="mod">
          <ac:chgData name="Caldarelli, Leslie" userId="S::lcaldarelli_luriechildrens.org#ext#@nuwildcat.onmicrosoft.com::cd79b54d-c14e-4199-a04a-39c6f592e710" providerId="AD" clId="Web-{3A3E4FEE-6F9B-7EC3-B167-3C31BBE96824}" dt="2023-10-31T16:45:57.547" v="552" actId="20577"/>
          <ac:spMkLst>
            <pc:docMk/>
            <pc:sldMk cId="3557549611" sldId="639"/>
            <ac:spMk id="2" creationId="{0BE17DCB-A8F8-6312-7CC0-B9B84CE03C29}"/>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4" creationId="{06276F4D-91A4-D091-2EFE-9A1748660AE2}"/>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5" creationId="{475B4B8E-2C04-6E84-AEFA-610CF3D9D135}"/>
          </ac:spMkLst>
        </pc:spChg>
        <pc:spChg chg="del">
          <ac:chgData name="Caldarelli, Leslie" userId="S::lcaldarelli_luriechildrens.org#ext#@nuwildcat.onmicrosoft.com::cd79b54d-c14e-4199-a04a-39c6f592e710" providerId="AD" clId="Web-{3A3E4FEE-6F9B-7EC3-B167-3C31BBE96824}" dt="2023-10-31T16:44:54.342" v="540"/>
          <ac:spMkLst>
            <pc:docMk/>
            <pc:sldMk cId="3557549611" sldId="639"/>
            <ac:spMk id="11" creationId="{71B2258F-86CA-4D4D-8270-BC05FCDEBFB3}"/>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6" creationId="{27BDFED6-6E33-4606-AFE2-886ADB1C018E}"/>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8" creationId="{890DEF05-784E-4B61-89E4-04C4ECF4E5A0}"/>
          </ac:spMkLst>
        </pc:spChg>
        <pc:spChg chg="add del">
          <ac:chgData name="Caldarelli, Leslie" userId="S::lcaldarelli_luriechildrens.org#ext#@nuwildcat.onmicrosoft.com::cd79b54d-c14e-4199-a04a-39c6f592e710" providerId="AD" clId="Web-{3A3E4FEE-6F9B-7EC3-B167-3C31BBE96824}" dt="2023-10-31T16:45:07.967" v="544"/>
          <ac:spMkLst>
            <pc:docMk/>
            <pc:sldMk cId="3557549611" sldId="639"/>
            <ac:spMk id="25" creationId="{37C89E4B-3C9F-44B9-8B86-D9E3D112D8EC}"/>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1" creationId="{08C9B587-E65E-4B52-B37C-ABEBB6E87928}"/>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2" creationId="{0671A8AE-40A1-4631-A6B8-581AFF065482}"/>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3" creationId="{AB58EF07-17C2-48CF-ABB0-EEF1F17CB8F0}"/>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4" creationId="{AF2F604E-43BE-4DC3-B983-E071523364F8}"/>
          </ac:spMkLst>
        </pc:spChg>
        <pc:spChg chg="add">
          <ac:chgData name="Caldarelli, Leslie" userId="S::lcaldarelli_luriechildrens.org#ext#@nuwildcat.onmicrosoft.com::cd79b54d-c14e-4199-a04a-39c6f592e710" providerId="AD" clId="Web-{3A3E4FEE-6F9B-7EC3-B167-3C31BBE96824}" dt="2023-10-31T16:45:23.561" v="547"/>
          <ac:spMkLst>
            <pc:docMk/>
            <pc:sldMk cId="3557549611" sldId="639"/>
            <ac:spMk id="36" creationId="{71B2258F-86CA-4D4D-8270-BC05FCDEBFB3}"/>
          </ac:spMkLst>
        </pc:spChg>
        <pc:picChg chg="add mod ord">
          <ac:chgData name="Caldarelli, Leslie" userId="S::lcaldarelli_luriechildrens.org#ext#@nuwildcat.onmicrosoft.com::cd79b54d-c14e-4199-a04a-39c6f592e710" providerId="AD" clId="Web-{3A3E4FEE-6F9B-7EC3-B167-3C31BBE96824}" dt="2023-10-31T16:45:23.561" v="547"/>
          <ac:picMkLst>
            <pc:docMk/>
            <pc:sldMk cId="3557549611" sldId="639"/>
            <ac:picMk id="3" creationId="{DAFBE606-7FC7-49C4-35AD-E7F8C66460CB}"/>
          </ac:picMkLst>
        </pc:picChg>
        <pc:picChg chg="del mod">
          <ac:chgData name="Caldarelli, Leslie" userId="S::lcaldarelli_luriechildrens.org#ext#@nuwildcat.onmicrosoft.com::cd79b54d-c14e-4199-a04a-39c6f592e710" providerId="AD" clId="Web-{3A3E4FEE-6F9B-7EC3-B167-3C31BBE96824}" dt="2023-10-31T16:44:58.154" v="542"/>
          <ac:picMkLst>
            <pc:docMk/>
            <pc:sldMk cId="3557549611" sldId="639"/>
            <ac:picMk id="7" creationId="{6B05B810-C788-B059-81CD-37A75C30A63A}"/>
          </ac:picMkLst>
        </pc:picChg>
        <pc:cxnChg chg="add del">
          <ac:chgData name="Caldarelli, Leslie" userId="S::lcaldarelli_luriechildrens.org#ext#@nuwildcat.onmicrosoft.com::cd79b54d-c14e-4199-a04a-39c6f592e710" providerId="AD" clId="Web-{3A3E4FEE-6F9B-7EC3-B167-3C31BBE96824}" dt="2023-10-31T16:45:23.561" v="547"/>
          <ac:cxnSpMkLst>
            <pc:docMk/>
            <pc:sldMk cId="3557549611" sldId="639"/>
            <ac:cxnSpMk id="20" creationId="{C41BAEC7-F7B0-4224-8B18-8F74B7D87F0B}"/>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7" creationId="{AA2EAA10-076F-46BD-8F0F-B9A2FB77A85C}"/>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9" creationId="{D891E407-403B-4764-86C9-33A56D3BCAA3}"/>
          </ac:cxnSpMkLst>
        </pc:cxnChg>
      </pc:sldChg>
      <pc:sldChg chg="addSp modSp modNotes">
        <pc:chgData name="Caldarelli, Leslie" userId="S::lcaldarelli_luriechildrens.org#ext#@nuwildcat.onmicrosoft.com::cd79b54d-c14e-4199-a04a-39c6f592e710" providerId="AD" clId="Web-{3A3E4FEE-6F9B-7EC3-B167-3C31BBE96824}" dt="2023-10-31T15:52:03.118" v="208"/>
        <pc:sldMkLst>
          <pc:docMk/>
          <pc:sldMk cId="113281680" sldId="642"/>
        </pc:sldMkLst>
        <pc:spChg chg="mod">
          <ac:chgData name="Caldarelli, Leslie" userId="S::lcaldarelli_luriechildrens.org#ext#@nuwildcat.onmicrosoft.com::cd79b54d-c14e-4199-a04a-39c6f592e710" providerId="AD" clId="Web-{3A3E4FEE-6F9B-7EC3-B167-3C31BBE96824}" dt="2023-10-31T15:50:18.864" v="194" actId="1076"/>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3A3E4FEE-6F9B-7EC3-B167-3C31BBE96824}" dt="2023-10-31T15:51:17.319" v="207" actId="20577"/>
          <ac:spMkLst>
            <pc:docMk/>
            <pc:sldMk cId="113281680" sldId="642"/>
            <ac:spMk id="3" creationId="{9038DB7D-70BC-F3BC-5E8D-8CFC7F509BED}"/>
          </ac:spMkLst>
        </pc:spChg>
        <pc:spChg chg="add mod">
          <ac:chgData name="Caldarelli, Leslie" userId="S::lcaldarelli_luriechildrens.org#ext#@nuwildcat.onmicrosoft.com::cd79b54d-c14e-4199-a04a-39c6f592e710" providerId="AD" clId="Web-{3A3E4FEE-6F9B-7EC3-B167-3C31BBE96824}" dt="2023-10-31T15:50:04.085" v="191" actId="1076"/>
          <ac:spMkLst>
            <pc:docMk/>
            <pc:sldMk cId="113281680" sldId="642"/>
            <ac:spMk id="6" creationId="{EB7BD3D8-0E72-993A-2F4C-9CE922B7CC0B}"/>
          </ac:spMkLst>
        </pc:spChg>
        <pc:spChg chg="add mod">
          <ac:chgData name="Caldarelli, Leslie" userId="S::lcaldarelli_luriechildrens.org#ext#@nuwildcat.onmicrosoft.com::cd79b54d-c14e-4199-a04a-39c6f592e710" providerId="AD" clId="Web-{3A3E4FEE-6F9B-7EC3-B167-3C31BBE96824}" dt="2023-10-31T15:50:08.410" v="192" actId="1076"/>
          <ac:spMkLst>
            <pc:docMk/>
            <pc:sldMk cId="113281680" sldId="642"/>
            <ac:spMk id="8" creationId="{9CAE83B1-576A-4BD3-4D30-DC90CF84A4CA}"/>
          </ac:spMkLst>
        </pc:spChg>
      </pc:sldChg>
      <pc:sldChg chg="modSp">
        <pc:chgData name="Caldarelli, Leslie" userId="S::lcaldarelli_luriechildrens.org#ext#@nuwildcat.onmicrosoft.com::cd79b54d-c14e-4199-a04a-39c6f592e710" providerId="AD" clId="Web-{3A3E4FEE-6F9B-7EC3-B167-3C31BBE96824}" dt="2023-10-31T16:37:26.732" v="495" actId="1076"/>
        <pc:sldMkLst>
          <pc:docMk/>
          <pc:sldMk cId="2443892533" sldId="643"/>
        </pc:sldMkLst>
        <pc:spChg chg="mod">
          <ac:chgData name="Caldarelli, Leslie" userId="S::lcaldarelli_luriechildrens.org#ext#@nuwildcat.onmicrosoft.com::cd79b54d-c14e-4199-a04a-39c6f592e710" providerId="AD" clId="Web-{3A3E4FEE-6F9B-7EC3-B167-3C31BBE96824}" dt="2023-10-31T16:37:07.794" v="491"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3A3E4FEE-6F9B-7EC3-B167-3C31BBE96824}" dt="2023-10-31T16:37:24.153" v="494" actId="20577"/>
          <ac:spMkLst>
            <pc:docMk/>
            <pc:sldMk cId="2443892533" sldId="643"/>
            <ac:spMk id="3" creationId="{E7ECD19B-85BC-6652-2856-676802964CFA}"/>
          </ac:spMkLst>
        </pc:spChg>
        <pc:picChg chg="mod">
          <ac:chgData name="Caldarelli, Leslie" userId="S::lcaldarelli_luriechildrens.org#ext#@nuwildcat.onmicrosoft.com::cd79b54d-c14e-4199-a04a-39c6f592e710" providerId="AD" clId="Web-{3A3E4FEE-6F9B-7EC3-B167-3C31BBE96824}" dt="2023-10-31T16:37:26.732" v="495" actId="1076"/>
          <ac:picMkLst>
            <pc:docMk/>
            <pc:sldMk cId="2443892533" sldId="643"/>
            <ac:picMk id="7" creationId="{8561AC10-C045-61C5-C572-29E58C8EEF9B}"/>
          </ac:picMkLst>
        </pc:picChg>
      </pc:sldChg>
      <pc:sldChg chg="modSp modNotes">
        <pc:chgData name="Caldarelli, Leslie" userId="S::lcaldarelli_luriechildrens.org#ext#@nuwildcat.onmicrosoft.com::cd79b54d-c14e-4199-a04a-39c6f592e710" providerId="AD" clId="Web-{3A3E4FEE-6F9B-7EC3-B167-3C31BBE96824}" dt="2023-10-31T16:42:54.264" v="528" actId="20577"/>
        <pc:sldMkLst>
          <pc:docMk/>
          <pc:sldMk cId="226321953" sldId="646"/>
        </pc:sldMkLst>
        <pc:spChg chg="mod">
          <ac:chgData name="Caldarelli, Leslie" userId="S::lcaldarelli_luriechildrens.org#ext#@nuwildcat.onmicrosoft.com::cd79b54d-c14e-4199-a04a-39c6f592e710" providerId="AD" clId="Web-{3A3E4FEE-6F9B-7EC3-B167-3C31BBE96824}" dt="2023-10-31T16:42:54.264" v="528" actId="20577"/>
          <ac:spMkLst>
            <pc:docMk/>
            <pc:sldMk cId="226321953" sldId="646"/>
            <ac:spMk id="2" creationId="{966FAC69-62AA-D40E-C4BD-DAD5BF599C69}"/>
          </ac:spMkLst>
        </pc:spChg>
      </pc:sldChg>
      <pc:sldChg chg="modSp modNotes">
        <pc:chgData name="Caldarelli, Leslie" userId="S::lcaldarelli_luriechildrens.org#ext#@nuwildcat.onmicrosoft.com::cd79b54d-c14e-4199-a04a-39c6f592e710" providerId="AD" clId="Web-{3A3E4FEE-6F9B-7EC3-B167-3C31BBE96824}" dt="2023-10-31T16:41:12.349" v="526"/>
        <pc:sldMkLst>
          <pc:docMk/>
          <pc:sldMk cId="1661337475" sldId="647"/>
        </pc:sldMkLst>
        <pc:spChg chg="mod">
          <ac:chgData name="Caldarelli, Leslie" userId="S::lcaldarelli_luriechildrens.org#ext#@nuwildcat.onmicrosoft.com::cd79b54d-c14e-4199-a04a-39c6f592e710" providerId="AD" clId="Web-{3A3E4FEE-6F9B-7EC3-B167-3C31BBE96824}" dt="2023-10-31T16:39:46.581" v="502" actId="1076"/>
          <ac:spMkLst>
            <pc:docMk/>
            <pc:sldMk cId="1661337475" sldId="647"/>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36.252" v="500" actId="1076"/>
          <ac:spMkLst>
            <pc:docMk/>
            <pc:sldMk cId="1661337475" sldId="647"/>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39:31.674" v="499" actId="1076"/>
          <ac:spMkLst>
            <pc:docMk/>
            <pc:sldMk cId="1661337475" sldId="647"/>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9:41.799" v="501" actId="1076"/>
          <ac:grpSpMkLst>
            <pc:docMk/>
            <pc:sldMk cId="1661337475" sldId="647"/>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39:52.753" v="503" actId="1076"/>
        <pc:sldMkLst>
          <pc:docMk/>
          <pc:sldMk cId="641611787" sldId="648"/>
        </pc:sldMkLst>
        <pc:spChg chg="mod">
          <ac:chgData name="Caldarelli, Leslie" userId="S::lcaldarelli_luriechildrens.org#ext#@nuwildcat.onmicrosoft.com::cd79b54d-c14e-4199-a04a-39c6f592e710" providerId="AD" clId="Web-{3A3E4FEE-6F9B-7EC3-B167-3C31BBE96824}" dt="2023-10-31T16:39:52.753" v="503" actId="1076"/>
          <ac:spMkLst>
            <pc:docMk/>
            <pc:sldMk cId="641611787" sldId="648"/>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19.611" v="497" actId="1076"/>
          <ac:spMkLst>
            <pc:docMk/>
            <pc:sldMk cId="641611787" sldId="648"/>
            <ac:spMk id="53" creationId="{00000000-0000-0000-0000-000000000000}"/>
          </ac:spMkLst>
        </pc:spChg>
      </pc:sldChg>
    </pc:docChg>
  </pc:docChgLst>
  <pc:docChgLst>
    <pc:chgData name="Alana Rivera" userId="S::arg3669@ads.northwestern.edu::fc8b707a-b7e9-4f2a-8d71-2d76819b7881" providerId="AD" clId="Web-{F9F8F9CD-504E-7117-C6BD-BB41440E79C4}"/>
    <pc:docChg chg="delSld modSld">
      <pc:chgData name="Alana Rivera" userId="S::arg3669@ads.northwestern.edu::fc8b707a-b7e9-4f2a-8d71-2d76819b7881" providerId="AD" clId="Web-{F9F8F9CD-504E-7117-C6BD-BB41440E79C4}" dt="2023-12-27T21:54:44.056" v="63"/>
      <pc:docMkLst>
        <pc:docMk/>
      </pc:docMkLst>
      <pc:sldChg chg="modSp">
        <pc:chgData name="Alana Rivera" userId="S::arg3669@ads.northwestern.edu::fc8b707a-b7e9-4f2a-8d71-2d76819b7881" providerId="AD" clId="Web-{F9F8F9CD-504E-7117-C6BD-BB41440E79C4}" dt="2023-12-27T21:35:32.902" v="10"/>
        <pc:sldMkLst>
          <pc:docMk/>
          <pc:sldMk cId="3127921386" sldId="280"/>
        </pc:sldMkLst>
        <pc:spChg chg="mod">
          <ac:chgData name="Alana Rivera" userId="S::arg3669@ads.northwestern.edu::fc8b707a-b7e9-4f2a-8d71-2d76819b7881" providerId="AD" clId="Web-{F9F8F9CD-504E-7117-C6BD-BB41440E79C4}" dt="2023-12-27T21:34:41.979" v="5" actId="20577"/>
          <ac:spMkLst>
            <pc:docMk/>
            <pc:sldMk cId="3127921386" sldId="280"/>
            <ac:spMk id="3" creationId="{1D742501-F937-8041-84E5-748F96AE991B}"/>
          </ac:spMkLst>
        </pc:spChg>
        <pc:spChg chg="mod">
          <ac:chgData name="Alana Rivera" userId="S::arg3669@ads.northwestern.edu::fc8b707a-b7e9-4f2a-8d71-2d76819b7881" providerId="AD" clId="Web-{F9F8F9CD-504E-7117-C6BD-BB41440E79C4}" dt="2023-12-27T21:35:12.636" v="9" actId="20577"/>
          <ac:spMkLst>
            <pc:docMk/>
            <pc:sldMk cId="3127921386" sldId="280"/>
            <ac:spMk id="9" creationId="{7F20A429-9947-F447-2DF2-A5C17B5C6EC1}"/>
          </ac:spMkLst>
        </pc:spChg>
        <pc:picChg chg="mod">
          <ac:chgData name="Alana Rivera" userId="S::arg3669@ads.northwestern.edu::fc8b707a-b7e9-4f2a-8d71-2d76819b7881" providerId="AD" clId="Web-{F9F8F9CD-504E-7117-C6BD-BB41440E79C4}" dt="2023-12-27T21:35:32.902" v="10"/>
          <ac:picMkLst>
            <pc:docMk/>
            <pc:sldMk cId="3127921386" sldId="280"/>
            <ac:picMk id="2" creationId="{0D7C69D0-240C-8322-D521-66F461EE341B}"/>
          </ac:picMkLst>
        </pc:picChg>
      </pc:sldChg>
      <pc:sldChg chg="modSp">
        <pc:chgData name="Alana Rivera" userId="S::arg3669@ads.northwestern.edu::fc8b707a-b7e9-4f2a-8d71-2d76819b7881" providerId="AD" clId="Web-{F9F8F9CD-504E-7117-C6BD-BB41440E79C4}" dt="2023-12-27T21:51:41.833" v="47" actId="20577"/>
        <pc:sldMkLst>
          <pc:docMk/>
          <pc:sldMk cId="4044691067" sldId="283"/>
        </pc:sldMkLst>
        <pc:spChg chg="mod">
          <ac:chgData name="Alana Rivera" userId="S::arg3669@ads.northwestern.edu::fc8b707a-b7e9-4f2a-8d71-2d76819b7881" providerId="AD" clId="Web-{F9F8F9CD-504E-7117-C6BD-BB41440E79C4}" dt="2023-12-27T21:41:15.552" v="13" actId="20577"/>
          <ac:spMkLst>
            <pc:docMk/>
            <pc:sldMk cId="4044691067" sldId="283"/>
            <ac:spMk id="16386" creationId="{00000000-0000-0000-0000-000000000000}"/>
          </ac:spMkLst>
        </pc:spChg>
        <pc:spChg chg="mod">
          <ac:chgData name="Alana Rivera" userId="S::arg3669@ads.northwestern.edu::fc8b707a-b7e9-4f2a-8d71-2d76819b7881" providerId="AD" clId="Web-{F9F8F9CD-504E-7117-C6BD-BB41440E79C4}" dt="2023-12-27T21:51:41.833" v="47" actId="20577"/>
          <ac:spMkLst>
            <pc:docMk/>
            <pc:sldMk cId="4044691067" sldId="283"/>
            <ac:spMk id="16387" creationId="{00000000-0000-0000-0000-000000000000}"/>
          </ac:spMkLst>
        </pc:spChg>
      </pc:sldChg>
      <pc:sldChg chg="del">
        <pc:chgData name="Alana Rivera" userId="S::arg3669@ads.northwestern.edu::fc8b707a-b7e9-4f2a-8d71-2d76819b7881" providerId="AD" clId="Web-{F9F8F9CD-504E-7117-C6BD-BB41440E79C4}" dt="2023-12-27T21:53:29.679" v="56"/>
        <pc:sldMkLst>
          <pc:docMk/>
          <pc:sldMk cId="3080095507" sldId="703"/>
        </pc:sldMkLst>
      </pc:sldChg>
      <pc:sldChg chg="del">
        <pc:chgData name="Alana Rivera" userId="S::arg3669@ads.northwestern.edu::fc8b707a-b7e9-4f2a-8d71-2d76819b7881" providerId="AD" clId="Web-{F9F8F9CD-504E-7117-C6BD-BB41440E79C4}" dt="2023-12-27T21:54:06.227" v="60"/>
        <pc:sldMkLst>
          <pc:docMk/>
          <pc:sldMk cId="1789754515" sldId="708"/>
        </pc:sldMkLst>
      </pc:sldChg>
      <pc:sldChg chg="del">
        <pc:chgData name="Alana Rivera" userId="S::arg3669@ads.northwestern.edu::fc8b707a-b7e9-4f2a-8d71-2d76819b7881" providerId="AD" clId="Web-{F9F8F9CD-504E-7117-C6BD-BB41440E79C4}" dt="2023-12-27T21:53:56.399" v="59"/>
        <pc:sldMkLst>
          <pc:docMk/>
          <pc:sldMk cId="768417776" sldId="709"/>
        </pc:sldMkLst>
      </pc:sldChg>
      <pc:sldChg chg="del">
        <pc:chgData name="Alana Rivera" userId="S::arg3669@ads.northwestern.edu::fc8b707a-b7e9-4f2a-8d71-2d76819b7881" providerId="AD" clId="Web-{F9F8F9CD-504E-7117-C6BD-BB41440E79C4}" dt="2023-12-27T21:53:53.414" v="58"/>
        <pc:sldMkLst>
          <pc:docMk/>
          <pc:sldMk cId="3734042619" sldId="710"/>
        </pc:sldMkLst>
      </pc:sldChg>
      <pc:sldChg chg="del">
        <pc:chgData name="Alana Rivera" userId="S::arg3669@ads.northwestern.edu::fc8b707a-b7e9-4f2a-8d71-2d76819b7881" providerId="AD" clId="Web-{F9F8F9CD-504E-7117-C6BD-BB41440E79C4}" dt="2023-12-27T21:53:42.961" v="57"/>
        <pc:sldMkLst>
          <pc:docMk/>
          <pc:sldMk cId="3859034132" sldId="711"/>
        </pc:sldMkLst>
      </pc:sldChg>
      <pc:sldChg chg="modSp">
        <pc:chgData name="Alana Rivera" userId="S::arg3669@ads.northwestern.edu::fc8b707a-b7e9-4f2a-8d71-2d76819b7881" providerId="AD" clId="Web-{F9F8F9CD-504E-7117-C6BD-BB41440E79C4}" dt="2023-12-27T21:52:45.709" v="53" actId="1076"/>
        <pc:sldMkLst>
          <pc:docMk/>
          <pc:sldMk cId="3139874353" sldId="712"/>
        </pc:sldMkLst>
        <pc:spChg chg="mod">
          <ac:chgData name="Alana Rivera" userId="S::arg3669@ads.northwestern.edu::fc8b707a-b7e9-4f2a-8d71-2d76819b7881" providerId="AD" clId="Web-{F9F8F9CD-504E-7117-C6BD-BB41440E79C4}" dt="2023-12-27T21:52:45.709" v="53" actId="1076"/>
          <ac:spMkLst>
            <pc:docMk/>
            <pc:sldMk cId="3139874353" sldId="712"/>
            <ac:spMk id="2" creationId="{39AAB3FF-760A-B654-5F1B-78AD5BEB6B57}"/>
          </ac:spMkLst>
        </pc:spChg>
        <pc:spChg chg="mod">
          <ac:chgData name="Alana Rivera" userId="S::arg3669@ads.northwestern.edu::fc8b707a-b7e9-4f2a-8d71-2d76819b7881" providerId="AD" clId="Web-{F9F8F9CD-504E-7117-C6BD-BB41440E79C4}" dt="2023-12-27T21:52:28.131" v="52" actId="20577"/>
          <ac:spMkLst>
            <pc:docMk/>
            <pc:sldMk cId="3139874353" sldId="712"/>
            <ac:spMk id="3" creationId="{BFE56240-A306-0E11-425A-7323821A42F2}"/>
          </ac:spMkLst>
        </pc:spChg>
      </pc:sldChg>
      <pc:sldChg chg="addSp delSp modSp">
        <pc:chgData name="Alana Rivera" userId="S::arg3669@ads.northwestern.edu::fc8b707a-b7e9-4f2a-8d71-2d76819b7881" providerId="AD" clId="Web-{F9F8F9CD-504E-7117-C6BD-BB41440E79C4}" dt="2023-12-27T21:54:44.056" v="63"/>
        <pc:sldMkLst>
          <pc:docMk/>
          <pc:sldMk cId="4179369718" sldId="713"/>
        </pc:sldMkLst>
        <pc:spChg chg="mod">
          <ac:chgData name="Alana Rivera" userId="S::arg3669@ads.northwestern.edu::fc8b707a-b7e9-4f2a-8d71-2d76819b7881" providerId="AD" clId="Web-{F9F8F9CD-504E-7117-C6BD-BB41440E79C4}" dt="2023-12-27T21:54:20.477" v="61" actId="20577"/>
          <ac:spMkLst>
            <pc:docMk/>
            <pc:sldMk cId="4179369718" sldId="713"/>
            <ac:spMk id="2" creationId="{00000000-0000-0000-0000-000000000000}"/>
          </ac:spMkLst>
        </pc:spChg>
        <pc:spChg chg="add del">
          <ac:chgData name="Alana Rivera" userId="S::arg3669@ads.northwestern.edu::fc8b707a-b7e9-4f2a-8d71-2d76819b7881" providerId="AD" clId="Web-{F9F8F9CD-504E-7117-C6BD-BB41440E79C4}" dt="2023-12-27T21:54:44.056" v="63"/>
          <ac:spMkLst>
            <pc:docMk/>
            <pc:sldMk cId="4179369718" sldId="713"/>
            <ac:spMk id="11" creationId="{00000000-0000-0000-0000-000000000000}"/>
          </ac:spMkLst>
        </pc:spChg>
      </pc:sldChg>
      <pc:sldChg chg="del">
        <pc:chgData name="Alana Rivera" userId="S::arg3669@ads.northwestern.edu::fc8b707a-b7e9-4f2a-8d71-2d76819b7881" providerId="AD" clId="Web-{F9F8F9CD-504E-7117-C6BD-BB41440E79C4}" dt="2023-12-27T21:53:26.226" v="55"/>
        <pc:sldMkLst>
          <pc:docMk/>
          <pc:sldMk cId="4091814342" sldId="715"/>
        </pc:sldMkLst>
      </pc:sldChg>
      <pc:sldChg chg="del">
        <pc:chgData name="Alana Rivera" userId="S::arg3669@ads.northwestern.edu::fc8b707a-b7e9-4f2a-8d71-2d76819b7881" providerId="AD" clId="Web-{F9F8F9CD-504E-7117-C6BD-BB41440E79C4}" dt="2023-12-27T21:53:11.460" v="54"/>
        <pc:sldMkLst>
          <pc:docMk/>
          <pc:sldMk cId="3241722567" sldId="740"/>
        </pc:sldMkLst>
      </pc:sldChg>
    </pc:docChg>
  </pc:docChgLst>
  <pc:docChgLst>
    <pc:chgData name="Eileen Fleming Suse" userId="S::efs3844@ads.northwestern.edu::725c94ef-d051-42d7-9d33-8572765d592b" providerId="AD" clId="Web-{2D3E1CBF-0F08-92B9-6543-9FE5E77E56E9}"/>
    <pc:docChg chg="addSld delSld modSld">
      <pc:chgData name="Eileen Fleming Suse" userId="S::efs3844@ads.northwestern.edu::725c94ef-d051-42d7-9d33-8572765d592b" providerId="AD" clId="Web-{2D3E1CBF-0F08-92B9-6543-9FE5E77E56E9}" dt="2023-10-28T14:57:28.029" v="305"/>
      <pc:docMkLst>
        <pc:docMk/>
      </pc:docMkLst>
      <pc:sldChg chg="modSp">
        <pc:chgData name="Eileen Fleming Suse" userId="S::efs3844@ads.northwestern.edu::725c94ef-d051-42d7-9d33-8572765d592b" providerId="AD" clId="Web-{2D3E1CBF-0F08-92B9-6543-9FE5E77E56E9}" dt="2023-10-28T14:54:32.961" v="268" actId="20577"/>
        <pc:sldMkLst>
          <pc:docMk/>
          <pc:sldMk cId="2086939794" sldId="326"/>
        </pc:sldMkLst>
        <pc:spChg chg="mod">
          <ac:chgData name="Eileen Fleming Suse" userId="S::efs3844@ads.northwestern.edu::725c94ef-d051-42d7-9d33-8572765d592b" providerId="AD" clId="Web-{2D3E1CBF-0F08-92B9-6543-9FE5E77E56E9}" dt="2023-10-28T14:54:32.961" v="268" actId="20577"/>
          <ac:spMkLst>
            <pc:docMk/>
            <pc:sldMk cId="2086939794" sldId="326"/>
            <ac:spMk id="3" creationId="{1E0FB995-5DD8-5081-A69E-96B5869B0012}"/>
          </ac:spMkLst>
        </pc:spChg>
      </pc:sldChg>
      <pc:sldChg chg="modSp">
        <pc:chgData name="Eileen Fleming Suse" userId="S::efs3844@ads.northwestern.edu::725c94ef-d051-42d7-9d33-8572765d592b" providerId="AD" clId="Web-{2D3E1CBF-0F08-92B9-6543-9FE5E77E56E9}" dt="2023-10-28T14:57:28.029" v="305"/>
        <pc:sldMkLst>
          <pc:docMk/>
          <pc:sldMk cId="3067427377" sldId="560"/>
        </pc:sldMkLst>
        <pc:spChg chg="mod">
          <ac:chgData name="Eileen Fleming Suse" userId="S::efs3844@ads.northwestern.edu::725c94ef-d051-42d7-9d33-8572765d592b" providerId="AD" clId="Web-{2D3E1CBF-0F08-92B9-6543-9FE5E77E56E9}" dt="2023-10-28T14:57:28.029" v="305"/>
          <ac:spMkLst>
            <pc:docMk/>
            <pc:sldMk cId="3067427377" sldId="560"/>
            <ac:spMk id="2" creationId="{85302686-DF06-3304-66CB-1E21F4D086DC}"/>
          </ac:spMkLst>
        </pc:spChg>
      </pc:sldChg>
      <pc:sldChg chg="addSp modSp">
        <pc:chgData name="Eileen Fleming Suse" userId="S::efs3844@ads.northwestern.edu::725c94ef-d051-42d7-9d33-8572765d592b" providerId="AD" clId="Web-{2D3E1CBF-0F08-92B9-6543-9FE5E77E56E9}" dt="2023-10-28T14:57:16.622" v="304" actId="1076"/>
        <pc:sldMkLst>
          <pc:docMk/>
          <pc:sldMk cId="1141815353" sldId="562"/>
        </pc:sldMkLst>
        <pc:spChg chg="add mod">
          <ac:chgData name="Eileen Fleming Suse" userId="S::efs3844@ads.northwestern.edu::725c94ef-d051-42d7-9d33-8572765d592b" providerId="AD" clId="Web-{2D3E1CBF-0F08-92B9-6543-9FE5E77E56E9}" dt="2023-10-28T14:57:16.622" v="304" actId="1076"/>
          <ac:spMkLst>
            <pc:docMk/>
            <pc:sldMk cId="1141815353" sldId="562"/>
            <ac:spMk id="13" creationId="{2FC08365-C48A-7DB8-BBA6-D9EB552FFD55}"/>
          </ac:spMkLst>
        </pc:spChg>
        <pc:spChg chg="mod">
          <ac:chgData name="Eileen Fleming Suse" userId="S::efs3844@ads.northwestern.edu::725c94ef-d051-42d7-9d33-8572765d592b" providerId="AD" clId="Web-{2D3E1CBF-0F08-92B9-6543-9FE5E77E56E9}" dt="2023-10-28T14:57:12.528" v="302" actId="1076"/>
          <ac:spMkLst>
            <pc:docMk/>
            <pc:sldMk cId="1141815353" sldId="562"/>
            <ac:spMk id="360" creationId="{FE59A3A2-BFF2-9772-51D6-9CCB620AEB53}"/>
          </ac:spMkLst>
        </pc:spChg>
      </pc:sldChg>
      <pc:sldChg chg="addSp modSp">
        <pc:chgData name="Eileen Fleming Suse" userId="S::efs3844@ads.northwestern.edu::725c94ef-d051-42d7-9d33-8572765d592b" providerId="AD" clId="Web-{2D3E1CBF-0F08-92B9-6543-9FE5E77E56E9}" dt="2023-10-28T00:19:08.918" v="72" actId="20577"/>
        <pc:sldMkLst>
          <pc:docMk/>
          <pc:sldMk cId="1937423064" sldId="606"/>
        </pc:sldMkLst>
        <pc:spChg chg="add mod">
          <ac:chgData name="Eileen Fleming Suse" userId="S::efs3844@ads.northwestern.edu::725c94ef-d051-42d7-9d33-8572765d592b" providerId="AD" clId="Web-{2D3E1CBF-0F08-92B9-6543-9FE5E77E56E9}" dt="2023-10-28T00:19:08.918" v="72" actId="20577"/>
          <ac:spMkLst>
            <pc:docMk/>
            <pc:sldMk cId="1937423064" sldId="606"/>
            <ac:spMk id="3" creationId="{CF76BAF3-0D68-BE52-7B63-AF42CBFD04CB}"/>
          </ac:spMkLst>
        </pc:spChg>
        <pc:spChg chg="mod">
          <ac:chgData name="Eileen Fleming Suse" userId="S::efs3844@ads.northwestern.edu::725c94ef-d051-42d7-9d33-8572765d592b" providerId="AD" clId="Web-{2D3E1CBF-0F08-92B9-6543-9FE5E77E56E9}" dt="2023-10-28T00:08:21.950" v="3" actId="20577"/>
          <ac:spMkLst>
            <pc:docMk/>
            <pc:sldMk cId="1937423064" sldId="606"/>
            <ac:spMk id="12" creationId="{78126F38-8B56-6129-962F-5469035C8159}"/>
          </ac:spMkLst>
        </pc:spChg>
      </pc:sldChg>
      <pc:sldChg chg="del">
        <pc:chgData name="Eileen Fleming Suse" userId="S::efs3844@ads.northwestern.edu::725c94ef-d051-42d7-9d33-8572765d592b" providerId="AD" clId="Web-{2D3E1CBF-0F08-92B9-6543-9FE5E77E56E9}" dt="2023-10-28T00:23:48.585" v="73"/>
        <pc:sldMkLst>
          <pc:docMk/>
          <pc:sldMk cId="2500564114" sldId="624"/>
        </pc:sldMkLst>
      </pc:sldChg>
      <pc:sldChg chg="addSp delSp modSp delCm">
        <pc:chgData name="Eileen Fleming Suse" userId="S::efs3844@ads.northwestern.edu::725c94ef-d051-42d7-9d33-8572765d592b" providerId="AD" clId="Web-{2D3E1CBF-0F08-92B9-6543-9FE5E77E56E9}" dt="2023-10-28T14:54:08.976" v="263"/>
        <pc:sldMkLst>
          <pc:docMk/>
          <pc:sldMk cId="53107998" sldId="627"/>
        </pc:sldMkLst>
        <pc:spChg chg="del">
          <ac:chgData name="Eileen Fleming Suse" userId="S::efs3844@ads.northwestern.edu::725c94ef-d051-42d7-9d33-8572765d592b" providerId="AD" clId="Web-{2D3E1CBF-0F08-92B9-6543-9FE5E77E56E9}" dt="2023-10-28T00:28:55.500" v="79"/>
          <ac:spMkLst>
            <pc:docMk/>
            <pc:sldMk cId="53107998" sldId="627"/>
            <ac:spMk id="6" creationId="{5061076E-BCAA-95BB-947C-06473AB43500}"/>
          </ac:spMkLst>
        </pc:spChg>
        <pc:spChg chg="add mod">
          <ac:chgData name="Eileen Fleming Suse" userId="S::efs3844@ads.northwestern.edu::725c94ef-d051-42d7-9d33-8572765d592b" providerId="AD" clId="Web-{2D3E1CBF-0F08-92B9-6543-9FE5E77E56E9}" dt="2023-10-28T14:19:11.939" v="117" actId="20577"/>
          <ac:spMkLst>
            <pc:docMk/>
            <pc:sldMk cId="53107998" sldId="627"/>
            <ac:spMk id="6" creationId="{6869C5A5-AA49-7E86-16CA-330531D2D3A5}"/>
          </ac:spMkLst>
        </pc:spChg>
        <pc:spChg chg="del">
          <ac:chgData name="Eileen Fleming Suse" userId="S::efs3844@ads.northwestern.edu::725c94ef-d051-42d7-9d33-8572765d592b" providerId="AD" clId="Web-{2D3E1CBF-0F08-92B9-6543-9FE5E77E56E9}" dt="2023-10-28T14:14:49.415" v="81"/>
          <ac:spMkLst>
            <pc:docMk/>
            <pc:sldMk cId="53107998" sldId="627"/>
            <ac:spMk id="11" creationId="{1001CA27-B312-ABF1-7B46-5CD64FE61847}"/>
          </ac:spMkLst>
        </pc:spChg>
        <pc:picChg chg="del">
          <ac:chgData name="Eileen Fleming Suse" userId="S::efs3844@ads.northwestern.edu::725c94ef-d051-42d7-9d33-8572765d592b" providerId="AD" clId="Web-{2D3E1CBF-0F08-92B9-6543-9FE5E77E56E9}" dt="2023-10-28T00:28:55.531" v="80"/>
          <ac:picMkLst>
            <pc:docMk/>
            <pc:sldMk cId="53107998" sldId="627"/>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08.976" v="263"/>
              <pc2:cmMkLst xmlns:pc2="http://schemas.microsoft.com/office/powerpoint/2019/9/main/command">
                <pc:docMk/>
                <pc:sldMk cId="53107998" sldId="627"/>
                <pc2:cmMk id="{C48A6C56-B343-467E-9FD1-86B163B01706}"/>
              </pc2:cmMkLst>
            </pc226:cmChg>
            <pc226:cmChg xmlns:pc226="http://schemas.microsoft.com/office/powerpoint/2022/06/main/command" chg="del">
              <pc226:chgData name="Eileen Fleming Suse" userId="S::efs3844@ads.northwestern.edu::725c94ef-d051-42d7-9d33-8572765d592b" providerId="AD" clId="Web-{2D3E1CBF-0F08-92B9-6543-9FE5E77E56E9}" dt="2023-10-28T14:53:58.913" v="262"/>
              <pc2:cmMkLst xmlns:pc2="http://schemas.microsoft.com/office/powerpoint/2019/9/main/command">
                <pc:docMk/>
                <pc:sldMk cId="53107998" sldId="627"/>
                <pc2:cmMk id="{46D04177-1E1A-4590-B3B8-03DE51A18B3C}"/>
              </pc2:cmMkLst>
            </pc226:cmChg>
          </p:ext>
        </pc:extLst>
      </pc:sldChg>
      <pc:sldChg chg="addSp delSp modSp delCm">
        <pc:chgData name="Eileen Fleming Suse" userId="S::efs3844@ads.northwestern.edu::725c94ef-d051-42d7-9d33-8572765d592b" providerId="AD" clId="Web-{2D3E1CBF-0F08-92B9-6543-9FE5E77E56E9}" dt="2023-10-28T14:53:48.928" v="261"/>
        <pc:sldMkLst>
          <pc:docMk/>
          <pc:sldMk cId="534784336" sldId="628"/>
        </pc:sldMkLst>
        <pc:spChg chg="mod">
          <ac:chgData name="Eileen Fleming Suse" userId="S::efs3844@ads.northwestern.edu::725c94ef-d051-42d7-9d33-8572765d592b" providerId="AD" clId="Web-{2D3E1CBF-0F08-92B9-6543-9FE5E77E56E9}" dt="2023-10-28T14:26:26.922" v="168" actId="14100"/>
          <ac:spMkLst>
            <pc:docMk/>
            <pc:sldMk cId="534784336" sldId="628"/>
            <ac:spMk id="2" creationId="{5B0924D0-76E0-769E-E658-F9192618FFD4}"/>
          </ac:spMkLst>
        </pc:spChg>
        <pc:spChg chg="del">
          <ac:chgData name="Eileen Fleming Suse" userId="S::efs3844@ads.northwestern.edu::725c94ef-d051-42d7-9d33-8572765d592b" providerId="AD" clId="Web-{2D3E1CBF-0F08-92B9-6543-9FE5E77E56E9}" dt="2023-10-28T14:30:04.491" v="169"/>
          <ac:spMkLst>
            <pc:docMk/>
            <pc:sldMk cId="534784336" sldId="628"/>
            <ac:spMk id="3" creationId="{F9B93FA2-9BD2-09DD-15C3-2A948A3663FF}"/>
          </ac:spMkLst>
        </pc:spChg>
        <pc:spChg chg="add mod">
          <ac:chgData name="Eileen Fleming Suse" userId="S::efs3844@ads.northwestern.edu::725c94ef-d051-42d7-9d33-8572765d592b" providerId="AD" clId="Web-{2D3E1CBF-0F08-92B9-6543-9FE5E77E56E9}" dt="2023-10-28T14:38:01.288" v="202" actId="1076"/>
          <ac:spMkLst>
            <pc:docMk/>
            <pc:sldMk cId="534784336" sldId="628"/>
            <ac:spMk id="9" creationId="{98150912-7A4D-8CF4-F429-183917B0EF9E}"/>
          </ac:spMkLst>
        </pc:spChg>
        <pc:picChg chg="add del mod">
          <ac:chgData name="Eileen Fleming Suse" userId="S::efs3844@ads.northwestern.edu::725c94ef-d051-42d7-9d33-8572765d592b" providerId="AD" clId="Web-{2D3E1CBF-0F08-92B9-6543-9FE5E77E56E9}" dt="2023-10-28T14:30:38.430" v="174"/>
          <ac:picMkLst>
            <pc:docMk/>
            <pc:sldMk cId="534784336" sldId="628"/>
            <ac:picMk id="6" creationId="{1FC00E2F-3882-E810-155C-29DE0C5A93A5}"/>
          </ac:picMkLst>
        </pc:picChg>
        <pc:picChg chg="add mod">
          <ac:chgData name="Eileen Fleming Suse" userId="S::efs3844@ads.northwestern.edu::725c94ef-d051-42d7-9d33-8572765d592b" providerId="AD" clId="Web-{2D3E1CBF-0F08-92B9-6543-9FE5E77E56E9}" dt="2023-10-28T14:37:02.692" v="193" actId="1076"/>
          <ac:picMkLst>
            <pc:docMk/>
            <pc:sldMk cId="534784336" sldId="628"/>
            <ac:picMk id="7" creationId="{DB88B973-8D9A-30CF-C67C-F3355B614054}"/>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3:48.928" v="261"/>
              <pc2:cmMkLst xmlns:pc2="http://schemas.microsoft.com/office/powerpoint/2019/9/main/command">
                <pc:docMk/>
                <pc:sldMk cId="534784336" sldId="628"/>
                <pc2:cmMk id="{D2FD4193-EF38-49C6-9875-8E415492E71E}"/>
              </pc2:cmMkLst>
            </pc226:cmChg>
          </p:ext>
        </pc:extLst>
      </pc:sldChg>
      <pc:sldChg chg="new del">
        <pc:chgData name="Eileen Fleming Suse" userId="S::efs3844@ads.northwestern.edu::725c94ef-d051-42d7-9d33-8572765d592b" providerId="AD" clId="Web-{2D3E1CBF-0F08-92B9-6543-9FE5E77E56E9}" dt="2023-10-28T00:28:43.703" v="76"/>
        <pc:sldMkLst>
          <pc:docMk/>
          <pc:sldMk cId="2010547247" sldId="634"/>
        </pc:sldMkLst>
      </pc:sldChg>
      <pc:sldChg chg="addSp delSp modSp add replId delCm">
        <pc:chgData name="Eileen Fleming Suse" userId="S::efs3844@ads.northwestern.edu::725c94ef-d051-42d7-9d33-8572765d592b" providerId="AD" clId="Web-{2D3E1CBF-0F08-92B9-6543-9FE5E77E56E9}" dt="2023-10-28T14:54:31.633" v="266" actId="688"/>
        <pc:sldMkLst>
          <pc:docMk/>
          <pc:sldMk cId="411397640" sldId="635"/>
        </pc:sldMkLst>
        <pc:spChg chg="mod">
          <ac:chgData name="Eileen Fleming Suse" userId="S::efs3844@ads.northwestern.edu::725c94ef-d051-42d7-9d33-8572765d592b" providerId="AD" clId="Web-{2D3E1CBF-0F08-92B9-6543-9FE5E77E56E9}" dt="2023-10-28T14:25:22.123" v="159" actId="1076"/>
          <ac:spMkLst>
            <pc:docMk/>
            <pc:sldMk cId="411397640" sldId="635"/>
            <ac:spMk id="2" creationId="{EDBA7EA6-A8BC-1979-2886-87AD1991E00E}"/>
          </ac:spMkLst>
        </pc:spChg>
        <pc:spChg chg="del">
          <ac:chgData name="Eileen Fleming Suse" userId="S::efs3844@ads.northwestern.edu::725c94ef-d051-42d7-9d33-8572765d592b" providerId="AD" clId="Web-{2D3E1CBF-0F08-92B9-6543-9FE5E77E56E9}" dt="2023-10-28T00:28:55.234" v="78"/>
          <ac:spMkLst>
            <pc:docMk/>
            <pc:sldMk cId="411397640" sldId="635"/>
            <ac:spMk id="3" creationId="{22D7074D-B494-B92E-736B-139BAB3175B9}"/>
          </ac:spMkLst>
        </pc:spChg>
        <pc:spChg chg="mod">
          <ac:chgData name="Eileen Fleming Suse" userId="S::efs3844@ads.northwestern.edu::725c94ef-d051-42d7-9d33-8572765d592b" providerId="AD" clId="Web-{2D3E1CBF-0F08-92B9-6543-9FE5E77E56E9}" dt="2023-10-28T14:25:31.623" v="160" actId="1076"/>
          <ac:spMkLst>
            <pc:docMk/>
            <pc:sldMk cId="411397640" sldId="635"/>
            <ac:spMk id="4" creationId="{24F154B2-4E01-4816-22AD-EE966850CD86}"/>
          </ac:spMkLst>
        </pc:spChg>
        <pc:spChg chg="mod">
          <ac:chgData name="Eileen Fleming Suse" userId="S::efs3844@ads.northwestern.edu::725c94ef-d051-42d7-9d33-8572765d592b" providerId="AD" clId="Web-{2D3E1CBF-0F08-92B9-6543-9FE5E77E56E9}" dt="2023-10-28T14:25:40.717" v="163" actId="1076"/>
          <ac:spMkLst>
            <pc:docMk/>
            <pc:sldMk cId="411397640" sldId="635"/>
            <ac:spMk id="6" creationId="{5061076E-BCAA-95BB-947C-06473AB43500}"/>
          </ac:spMkLst>
        </pc:spChg>
        <pc:spChg chg="add mod">
          <ac:chgData name="Eileen Fleming Suse" userId="S::efs3844@ads.northwestern.edu::725c94ef-d051-42d7-9d33-8572765d592b" providerId="AD" clId="Web-{2D3E1CBF-0F08-92B9-6543-9FE5E77E56E9}" dt="2023-10-28T14:54:31.633" v="266" actId="688"/>
          <ac:spMkLst>
            <pc:docMk/>
            <pc:sldMk cId="411397640" sldId="635"/>
            <ac:spMk id="7" creationId="{C4CE6283-A808-AE07-353B-1EEB0D5BF6FD}"/>
          </ac:spMkLst>
        </pc:spChg>
        <pc:spChg chg="add del mod">
          <ac:chgData name="Eileen Fleming Suse" userId="S::efs3844@ads.northwestern.edu::725c94ef-d051-42d7-9d33-8572765d592b" providerId="AD" clId="Web-{2D3E1CBF-0F08-92B9-6543-9FE5E77E56E9}" dt="2023-10-28T14:19:12.080" v="118"/>
          <ac:spMkLst>
            <pc:docMk/>
            <pc:sldMk cId="411397640" sldId="635"/>
            <ac:spMk id="9" creationId="{F51C096E-2197-06DC-5548-06F7FD861993}"/>
          </ac:spMkLst>
        </pc:spChg>
        <pc:spChg chg="mod">
          <ac:chgData name="Eileen Fleming Suse" userId="S::efs3844@ads.northwestern.edu::725c94ef-d051-42d7-9d33-8572765d592b" providerId="AD" clId="Web-{2D3E1CBF-0F08-92B9-6543-9FE5E77E56E9}" dt="2023-10-28T14:25:31.639" v="162" actId="1076"/>
          <ac:spMkLst>
            <pc:docMk/>
            <pc:sldMk cId="411397640" sldId="635"/>
            <ac:spMk id="11" creationId="{1001CA27-B312-ABF1-7B46-5CD64FE61847}"/>
          </ac:spMkLst>
        </pc:spChg>
        <pc:picChg chg="del">
          <ac:chgData name="Eileen Fleming Suse" userId="S::efs3844@ads.northwestern.edu::725c94ef-d051-42d7-9d33-8572765d592b" providerId="AD" clId="Web-{2D3E1CBF-0F08-92B9-6543-9FE5E77E56E9}" dt="2023-10-28T00:28:46.656" v="77"/>
          <ac:picMkLst>
            <pc:docMk/>
            <pc:sldMk cId="411397640" sldId="635"/>
            <ac:picMk id="8" creationId="{69FCDDB0-47F5-DBE4-711A-C6061E65FD92}"/>
          </ac:picMkLst>
        </pc:picChg>
        <pc:picChg chg="mod">
          <ac:chgData name="Eileen Fleming Suse" userId="S::efs3844@ads.northwestern.edu::725c94ef-d051-42d7-9d33-8572765d592b" providerId="AD" clId="Web-{2D3E1CBF-0F08-92B9-6543-9FE5E77E56E9}" dt="2023-10-28T14:25:31.623" v="161" actId="1076"/>
          <ac:picMkLst>
            <pc:docMk/>
            <pc:sldMk cId="411397640" sldId="635"/>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21.070" v="265"/>
              <pc2:cmMkLst xmlns:pc2="http://schemas.microsoft.com/office/powerpoint/2019/9/main/command">
                <pc:docMk/>
                <pc:sldMk cId="411397640" sldId="635"/>
                <pc2:cmMk id="{3C68ED1F-70B6-42FD-A606-A0188A0C1982}"/>
              </pc2:cmMkLst>
            </pc226:cmChg>
            <pc226:cmChg xmlns:pc226="http://schemas.microsoft.com/office/powerpoint/2022/06/main/command" chg="del">
              <pc226:chgData name="Eileen Fleming Suse" userId="S::efs3844@ads.northwestern.edu::725c94ef-d051-42d7-9d33-8572765d592b" providerId="AD" clId="Web-{2D3E1CBF-0F08-92B9-6543-9FE5E77E56E9}" dt="2023-10-28T14:54:09.819" v="264"/>
              <pc2:cmMkLst xmlns:pc2="http://schemas.microsoft.com/office/powerpoint/2019/9/main/command">
                <pc:docMk/>
                <pc:sldMk cId="411397640" sldId="635"/>
                <pc2:cmMk id="{00E11887-98E4-479A-8DA4-445B0A6D85E8}"/>
              </pc2:cmMkLst>
            </pc226:cmChg>
          </p:ext>
        </pc:extLst>
      </pc:sldChg>
      <pc:sldChg chg="addSp delSp modSp new modNotes">
        <pc:chgData name="Eileen Fleming Suse" userId="S::efs3844@ads.northwestern.edu::725c94ef-d051-42d7-9d33-8572765d592b" providerId="AD" clId="Web-{2D3E1CBF-0F08-92B9-6543-9FE5E77E56E9}" dt="2023-10-28T14:53:29.990" v="260"/>
        <pc:sldMkLst>
          <pc:docMk/>
          <pc:sldMk cId="975286347" sldId="636"/>
        </pc:sldMkLst>
        <pc:spChg chg="mod">
          <ac:chgData name="Eileen Fleming Suse" userId="S::efs3844@ads.northwestern.edu::725c94ef-d051-42d7-9d33-8572765d592b" providerId="AD" clId="Web-{2D3E1CBF-0F08-92B9-6543-9FE5E77E56E9}" dt="2023-10-28T14:53:20.443" v="259" actId="1076"/>
          <ac:spMkLst>
            <pc:docMk/>
            <pc:sldMk cId="975286347" sldId="636"/>
            <ac:spMk id="2" creationId="{BB53F377-28A9-F2D5-76A8-8CDE2A9E7535}"/>
          </ac:spMkLst>
        </pc:spChg>
        <pc:spChg chg="del">
          <ac:chgData name="Eileen Fleming Suse" userId="S::efs3844@ads.northwestern.edu::725c94ef-d051-42d7-9d33-8572765d592b" providerId="AD" clId="Web-{2D3E1CBF-0F08-92B9-6543-9FE5E77E56E9}" dt="2023-10-28T14:38:30.570" v="209"/>
          <ac:spMkLst>
            <pc:docMk/>
            <pc:sldMk cId="975286347" sldId="636"/>
            <ac:spMk id="3" creationId="{AA591B85-8B99-0001-0D2D-E197FD1E29FA}"/>
          </ac:spMkLst>
        </pc:spChg>
        <pc:spChg chg="add mod">
          <ac:chgData name="Eileen Fleming Suse" userId="S::efs3844@ads.northwestern.edu::725c94ef-d051-42d7-9d33-8572765d592b" providerId="AD" clId="Web-{2D3E1CBF-0F08-92B9-6543-9FE5E77E56E9}" dt="2023-10-28T14:53:10.302" v="258" actId="1076"/>
          <ac:spMkLst>
            <pc:docMk/>
            <pc:sldMk cId="975286347" sldId="636"/>
            <ac:spMk id="6" creationId="{F6338EC5-0A81-7DC2-69F0-D3BF4953F92A}"/>
          </ac:spMkLst>
        </pc:spChg>
        <pc:spChg chg="add mod">
          <ac:chgData name="Eileen Fleming Suse" userId="S::efs3844@ads.northwestern.edu::725c94ef-d051-42d7-9d33-8572765d592b" providerId="AD" clId="Web-{2D3E1CBF-0F08-92B9-6543-9FE5E77E56E9}" dt="2023-10-28T14:51:22.283" v="247" actId="20577"/>
          <ac:spMkLst>
            <pc:docMk/>
            <pc:sldMk cId="975286347" sldId="636"/>
            <ac:spMk id="7" creationId="{3AA2C132-6976-52A2-A4F0-D81D09CBB1EA}"/>
          </ac:spMkLst>
        </pc:spChg>
        <pc:picChg chg="add mod">
          <ac:chgData name="Eileen Fleming Suse" userId="S::efs3844@ads.northwestern.edu::725c94ef-d051-42d7-9d33-8572765d592b" providerId="AD" clId="Web-{2D3E1CBF-0F08-92B9-6543-9FE5E77E56E9}" dt="2023-10-28T14:52:59.786" v="257" actId="1076"/>
          <ac:picMkLst>
            <pc:docMk/>
            <pc:sldMk cId="975286347" sldId="636"/>
            <ac:picMk id="8" creationId="{F6AF464B-BCF9-C413-1A61-5938E8025FD8}"/>
          </ac:picMkLst>
        </pc:picChg>
        <pc:picChg chg="add mod">
          <ac:chgData name="Eileen Fleming Suse" userId="S::efs3844@ads.northwestern.edu::725c94ef-d051-42d7-9d33-8572765d592b" providerId="AD" clId="Web-{2D3E1CBF-0F08-92B9-6543-9FE5E77E56E9}" dt="2023-10-28T14:52:49.004" v="256" actId="14100"/>
          <ac:picMkLst>
            <pc:docMk/>
            <pc:sldMk cId="975286347" sldId="636"/>
            <ac:picMk id="9" creationId="{8553280F-F27E-3A70-1DDD-92D0DF0018F9}"/>
          </ac:picMkLst>
        </pc:picChg>
      </pc:sldChg>
    </pc:docChg>
  </pc:docChgLst>
  <pc:docChgLst>
    <pc:chgData name="Alana Rivera" userId="S::arg3669@ads.northwestern.edu::fc8b707a-b7e9-4f2a-8d71-2d76819b7881" providerId="AD" clId="Web-{5DC65600-F3C9-4205-B138-3708EB0A1C1D}"/>
    <pc:docChg chg="sldOrd">
      <pc:chgData name="Alana Rivera" userId="S::arg3669@ads.northwestern.edu::fc8b707a-b7e9-4f2a-8d71-2d76819b7881" providerId="AD" clId="Web-{5DC65600-F3C9-4205-B138-3708EB0A1C1D}" dt="2023-05-09T18:50:49.614" v="0"/>
      <pc:docMkLst>
        <pc:docMk/>
      </pc:docMkLst>
      <pc:sldChg chg="ord">
        <pc:chgData name="Alana Rivera" userId="S::arg3669@ads.northwestern.edu::fc8b707a-b7e9-4f2a-8d71-2d76819b7881" providerId="AD" clId="Web-{5DC65600-F3C9-4205-B138-3708EB0A1C1D}" dt="2023-05-09T18:50:49.614" v="0"/>
        <pc:sldMkLst>
          <pc:docMk/>
          <pc:sldMk cId="52189943" sldId="343"/>
        </pc:sldMkLst>
      </pc:sldChg>
    </pc:docChg>
  </pc:docChgLst>
  <pc:docChgLst>
    <pc:chgData name="LCaldarelli" userId="S::lcaldarelli_luriechildrens.org#ext#@nuwildcat.onmicrosoft.com::cd79b54d-c14e-4199-a04a-39c6f592e710" providerId="AD" clId="Web-{1D788AEF-8DA4-9FDC-F8F6-781996136A25}"/>
    <pc:docChg chg="delSld">
      <pc:chgData name="LCaldarelli" userId="S::lcaldarelli_luriechildrens.org#ext#@nuwildcat.onmicrosoft.com::cd79b54d-c14e-4199-a04a-39c6f592e710" providerId="AD" clId="Web-{1D788AEF-8DA4-9FDC-F8F6-781996136A25}" dt="2023-11-20T17:20:03.301" v="0"/>
      <pc:docMkLst>
        <pc:docMk/>
      </pc:docMkLst>
      <pc:sldChg chg="del">
        <pc:chgData name="LCaldarelli" userId="S::lcaldarelli_luriechildrens.org#ext#@nuwildcat.onmicrosoft.com::cd79b54d-c14e-4199-a04a-39c6f592e710" providerId="AD" clId="Web-{1D788AEF-8DA4-9FDC-F8F6-781996136A25}" dt="2023-11-20T17:20:03.301" v="0"/>
        <pc:sldMkLst>
          <pc:docMk/>
          <pc:sldMk cId="3124210322" sldId="714"/>
        </pc:sldMkLst>
      </pc:sldChg>
    </pc:docChg>
  </pc:docChgLst>
  <pc:docChgLst>
    <pc:chgData name="Alana Rivera" userId="S::arg3669@ads.northwestern.edu::fc8b707a-b7e9-4f2a-8d71-2d76819b7881" providerId="AD" clId="Web-{3E81E0CF-E582-4D57-5132-0B6C13973CF0}"/>
    <pc:docChg chg="addSld delSld modSld sldOrd">
      <pc:chgData name="Alana Rivera" userId="S::arg3669@ads.northwestern.edu::fc8b707a-b7e9-4f2a-8d71-2d76819b7881" providerId="AD" clId="Web-{3E81E0CF-E582-4D57-5132-0B6C13973CF0}" dt="2023-12-28T20:48:20.239" v="383"/>
      <pc:docMkLst>
        <pc:docMk/>
      </pc:docMkLst>
      <pc:sldChg chg="del">
        <pc:chgData name="Alana Rivera" userId="S::arg3669@ads.northwestern.edu::fc8b707a-b7e9-4f2a-8d71-2d76819b7881" providerId="AD" clId="Web-{3E81E0CF-E582-4D57-5132-0B6C13973CF0}" dt="2023-12-28T17:56:24.413" v="63"/>
        <pc:sldMkLst>
          <pc:docMk/>
          <pc:sldMk cId="3635595752" sldId="545"/>
        </pc:sldMkLst>
      </pc:sldChg>
      <pc:sldChg chg="del">
        <pc:chgData name="Alana Rivera" userId="S::arg3669@ads.northwestern.edu::fc8b707a-b7e9-4f2a-8d71-2d76819b7881" providerId="AD" clId="Web-{3E81E0CF-E582-4D57-5132-0B6C13973CF0}" dt="2023-12-28T20:03:27.807" v="186"/>
        <pc:sldMkLst>
          <pc:docMk/>
          <pc:sldMk cId="1036043289" sldId="546"/>
        </pc:sldMkLst>
      </pc:sldChg>
      <pc:sldChg chg="del">
        <pc:chgData name="Alana Rivera" userId="S::arg3669@ads.northwestern.edu::fc8b707a-b7e9-4f2a-8d71-2d76819b7881" providerId="AD" clId="Web-{3E81E0CF-E582-4D57-5132-0B6C13973CF0}" dt="2023-12-28T20:03:23.385" v="154"/>
        <pc:sldMkLst>
          <pc:docMk/>
          <pc:sldMk cId="3745706804" sldId="548"/>
        </pc:sldMkLst>
      </pc:sldChg>
      <pc:sldChg chg="del">
        <pc:chgData name="Alana Rivera" userId="S::arg3669@ads.northwestern.edu::fc8b707a-b7e9-4f2a-8d71-2d76819b7881" providerId="AD" clId="Web-{3E81E0CF-E582-4D57-5132-0B6C13973CF0}" dt="2023-12-28T20:03:22.775" v="152"/>
        <pc:sldMkLst>
          <pc:docMk/>
          <pc:sldMk cId="3472964082" sldId="550"/>
        </pc:sldMkLst>
      </pc:sldChg>
      <pc:sldChg chg="del">
        <pc:chgData name="Alana Rivera" userId="S::arg3669@ads.northwestern.edu::fc8b707a-b7e9-4f2a-8d71-2d76819b7881" providerId="AD" clId="Web-{3E81E0CF-E582-4D57-5132-0B6C13973CF0}" dt="2023-12-28T20:03:23.369" v="153"/>
        <pc:sldMkLst>
          <pc:docMk/>
          <pc:sldMk cId="2562283095" sldId="551"/>
        </pc:sldMkLst>
      </pc:sldChg>
      <pc:sldChg chg="del">
        <pc:chgData name="Alana Rivera" userId="S::arg3669@ads.northwestern.edu::fc8b707a-b7e9-4f2a-8d71-2d76819b7881" providerId="AD" clId="Web-{3E81E0CF-E582-4D57-5132-0B6C13973CF0}" dt="2023-12-28T20:03:27.979" v="189"/>
        <pc:sldMkLst>
          <pc:docMk/>
          <pc:sldMk cId="714682852" sldId="552"/>
        </pc:sldMkLst>
      </pc:sldChg>
      <pc:sldChg chg="del">
        <pc:chgData name="Alana Rivera" userId="S::arg3669@ads.northwestern.edu::fc8b707a-b7e9-4f2a-8d71-2d76819b7881" providerId="AD" clId="Web-{3E81E0CF-E582-4D57-5132-0B6C13973CF0}" dt="2023-12-28T20:03:27.901" v="188"/>
        <pc:sldMkLst>
          <pc:docMk/>
          <pc:sldMk cId="1522616096" sldId="555"/>
        </pc:sldMkLst>
      </pc:sldChg>
      <pc:sldChg chg="del">
        <pc:chgData name="Alana Rivera" userId="S::arg3669@ads.northwestern.edu::fc8b707a-b7e9-4f2a-8d71-2d76819b7881" providerId="AD" clId="Web-{3E81E0CF-E582-4D57-5132-0B6C13973CF0}" dt="2023-12-28T20:25:23.100" v="277"/>
        <pc:sldMkLst>
          <pc:docMk/>
          <pc:sldMk cId="1514756035" sldId="556"/>
        </pc:sldMkLst>
      </pc:sldChg>
      <pc:sldChg chg="del">
        <pc:chgData name="Alana Rivera" userId="S::arg3669@ads.northwestern.edu::fc8b707a-b7e9-4f2a-8d71-2d76819b7881" providerId="AD" clId="Web-{3E81E0CF-E582-4D57-5132-0B6C13973CF0}" dt="2023-12-28T20:03:27.854" v="187"/>
        <pc:sldMkLst>
          <pc:docMk/>
          <pc:sldMk cId="773696652" sldId="558"/>
        </pc:sldMkLst>
      </pc:sldChg>
      <pc:sldChg chg="addSp modSp">
        <pc:chgData name="Alana Rivera" userId="S::arg3669@ads.northwestern.edu::fc8b707a-b7e9-4f2a-8d71-2d76819b7881" providerId="AD" clId="Web-{3E81E0CF-E582-4D57-5132-0B6C13973CF0}" dt="2023-12-28T20:43:42.058" v="369" actId="1076"/>
        <pc:sldMkLst>
          <pc:docMk/>
          <pc:sldMk cId="1141815353" sldId="562"/>
        </pc:sldMkLst>
        <pc:spChg chg="mod">
          <ac:chgData name="Alana Rivera" userId="S::arg3669@ads.northwestern.edu::fc8b707a-b7e9-4f2a-8d71-2d76819b7881" providerId="AD" clId="Web-{3E81E0CF-E582-4D57-5132-0B6C13973CF0}" dt="2023-12-28T20:35:20.588" v="335" actId="20577"/>
          <ac:spMkLst>
            <pc:docMk/>
            <pc:sldMk cId="1141815353" sldId="562"/>
            <ac:spMk id="2" creationId="{05579FEB-3306-A04E-6516-F16994F3B0F9}"/>
          </ac:spMkLst>
        </pc:spChg>
        <pc:spChg chg="add mod">
          <ac:chgData name="Alana Rivera" userId="S::arg3669@ads.northwestern.edu::fc8b707a-b7e9-4f2a-8d71-2d76819b7881" providerId="AD" clId="Web-{3E81E0CF-E582-4D57-5132-0B6C13973CF0}" dt="2023-12-28T20:43:22.510" v="365" actId="14100"/>
          <ac:spMkLst>
            <pc:docMk/>
            <pc:sldMk cId="1141815353" sldId="562"/>
            <ac:spMk id="450" creationId="{3FF9DEE6-802A-29EE-A6D0-AD98F6E08823}"/>
          </ac:spMkLst>
        </pc:spChg>
        <pc:spChg chg="add mod">
          <ac:chgData name="Alana Rivera" userId="S::arg3669@ads.northwestern.edu::fc8b707a-b7e9-4f2a-8d71-2d76819b7881" providerId="AD" clId="Web-{3E81E0CF-E582-4D57-5132-0B6C13973CF0}" dt="2023-12-28T20:43:42.058" v="369" actId="1076"/>
          <ac:spMkLst>
            <pc:docMk/>
            <pc:sldMk cId="1141815353" sldId="562"/>
            <ac:spMk id="451" creationId="{3776096E-45C6-5BFE-2499-2A66E529005D}"/>
          </ac:spMkLst>
        </pc:spChg>
        <pc:graphicFrameChg chg="modGraphic">
          <ac:chgData name="Alana Rivera" userId="S::arg3669@ads.northwestern.edu::fc8b707a-b7e9-4f2a-8d71-2d76819b7881" providerId="AD" clId="Web-{3E81E0CF-E582-4D57-5132-0B6C13973CF0}" dt="2023-12-28T20:35:05.541" v="322" actId="20577"/>
          <ac:graphicFrameMkLst>
            <pc:docMk/>
            <pc:sldMk cId="1141815353" sldId="562"/>
            <ac:graphicFrameMk id="137" creationId="{61D68665-D38F-2DB1-AAFC-535C715B7F9F}"/>
          </ac:graphicFrameMkLst>
        </pc:graphicFrameChg>
      </pc:sldChg>
      <pc:sldChg chg="del">
        <pc:chgData name="Alana Rivera" userId="S::arg3669@ads.northwestern.edu::fc8b707a-b7e9-4f2a-8d71-2d76819b7881" providerId="AD" clId="Web-{3E81E0CF-E582-4D57-5132-0B6C13973CF0}" dt="2023-12-28T20:03:27.713" v="183"/>
        <pc:sldMkLst>
          <pc:docMk/>
          <pc:sldMk cId="3419957415" sldId="577"/>
        </pc:sldMkLst>
      </pc:sldChg>
      <pc:sldChg chg="del">
        <pc:chgData name="Alana Rivera" userId="S::arg3669@ads.northwestern.edu::fc8b707a-b7e9-4f2a-8d71-2d76819b7881" providerId="AD" clId="Web-{3E81E0CF-E582-4D57-5132-0B6C13973CF0}" dt="2023-12-28T20:03:24.791" v="179"/>
        <pc:sldMkLst>
          <pc:docMk/>
          <pc:sldMk cId="785115983" sldId="578"/>
        </pc:sldMkLst>
      </pc:sldChg>
      <pc:sldChg chg="del">
        <pc:chgData name="Alana Rivera" userId="S::arg3669@ads.northwestern.edu::fc8b707a-b7e9-4f2a-8d71-2d76819b7881" providerId="AD" clId="Web-{3E81E0CF-E582-4D57-5132-0B6C13973CF0}" dt="2023-12-28T20:03:25.385" v="180"/>
        <pc:sldMkLst>
          <pc:docMk/>
          <pc:sldMk cId="3030449316" sldId="579"/>
        </pc:sldMkLst>
      </pc:sldChg>
      <pc:sldChg chg="del">
        <pc:chgData name="Alana Rivera" userId="S::arg3669@ads.northwestern.edu::fc8b707a-b7e9-4f2a-8d71-2d76819b7881" providerId="AD" clId="Web-{3E81E0CF-E582-4D57-5132-0B6C13973CF0}" dt="2023-12-28T20:03:26.072" v="181"/>
        <pc:sldMkLst>
          <pc:docMk/>
          <pc:sldMk cId="4283907660" sldId="580"/>
        </pc:sldMkLst>
      </pc:sldChg>
      <pc:sldChg chg="del">
        <pc:chgData name="Alana Rivera" userId="S::arg3669@ads.northwestern.edu::fc8b707a-b7e9-4f2a-8d71-2d76819b7881" providerId="AD" clId="Web-{3E81E0CF-E582-4D57-5132-0B6C13973CF0}" dt="2023-12-28T20:03:26.947" v="182"/>
        <pc:sldMkLst>
          <pc:docMk/>
          <pc:sldMk cId="3429940818" sldId="581"/>
        </pc:sldMkLst>
      </pc:sldChg>
      <pc:sldChg chg="del">
        <pc:chgData name="Alana Rivera" userId="S::arg3669@ads.northwestern.edu::fc8b707a-b7e9-4f2a-8d71-2d76819b7881" providerId="AD" clId="Web-{3E81E0CF-E582-4D57-5132-0B6C13973CF0}" dt="2023-12-28T20:03:27.713" v="184"/>
        <pc:sldMkLst>
          <pc:docMk/>
          <pc:sldMk cId="3573947264" sldId="584"/>
        </pc:sldMkLst>
      </pc:sldChg>
      <pc:sldChg chg="del">
        <pc:chgData name="Alana Rivera" userId="S::arg3669@ads.northwestern.edu::fc8b707a-b7e9-4f2a-8d71-2d76819b7881" providerId="AD" clId="Web-{3E81E0CF-E582-4D57-5132-0B6C13973CF0}" dt="2023-12-28T17:56:25.600" v="64"/>
        <pc:sldMkLst>
          <pc:docMk/>
          <pc:sldMk cId="3726638559" sldId="616"/>
        </pc:sldMkLst>
      </pc:sldChg>
      <pc:sldChg chg="del">
        <pc:chgData name="Alana Rivera" userId="S::arg3669@ads.northwestern.edu::fc8b707a-b7e9-4f2a-8d71-2d76819b7881" providerId="AD" clId="Web-{3E81E0CF-E582-4D57-5132-0B6C13973CF0}" dt="2023-12-28T20:03:27.791" v="185"/>
        <pc:sldMkLst>
          <pc:docMk/>
          <pc:sldMk cId="3850125703" sldId="622"/>
        </pc:sldMkLst>
      </pc:sldChg>
      <pc:sldChg chg="del">
        <pc:chgData name="Alana Rivera" userId="S::arg3669@ads.northwestern.edu::fc8b707a-b7e9-4f2a-8d71-2d76819b7881" providerId="AD" clId="Web-{3E81E0CF-E582-4D57-5132-0B6C13973CF0}" dt="2023-12-28T17:55:47.287" v="58"/>
        <pc:sldMkLst>
          <pc:docMk/>
          <pc:sldMk cId="3572565421" sldId="652"/>
        </pc:sldMkLst>
      </pc:sldChg>
      <pc:sldChg chg="del">
        <pc:chgData name="Alana Rivera" userId="S::arg3669@ads.northwestern.edu::fc8b707a-b7e9-4f2a-8d71-2d76819b7881" providerId="AD" clId="Web-{3E81E0CF-E582-4D57-5132-0B6C13973CF0}" dt="2023-12-28T17:55:59.522" v="59"/>
        <pc:sldMkLst>
          <pc:docMk/>
          <pc:sldMk cId="4023770579" sldId="654"/>
        </pc:sldMkLst>
      </pc:sldChg>
      <pc:sldChg chg="del">
        <pc:chgData name="Alana Rivera" userId="S::arg3669@ads.northwestern.edu::fc8b707a-b7e9-4f2a-8d71-2d76819b7881" providerId="AD" clId="Web-{3E81E0CF-E582-4D57-5132-0B6C13973CF0}" dt="2023-12-28T17:56:15.225" v="62"/>
        <pc:sldMkLst>
          <pc:docMk/>
          <pc:sldMk cId="3550543422" sldId="655"/>
        </pc:sldMkLst>
      </pc:sldChg>
      <pc:sldChg chg="del">
        <pc:chgData name="Alana Rivera" userId="S::arg3669@ads.northwestern.edu::fc8b707a-b7e9-4f2a-8d71-2d76819b7881" providerId="AD" clId="Web-{3E81E0CF-E582-4D57-5132-0B6C13973CF0}" dt="2023-12-28T20:02:05.054" v="147"/>
        <pc:sldMkLst>
          <pc:docMk/>
          <pc:sldMk cId="3336998141" sldId="681"/>
        </pc:sldMkLst>
      </pc:sldChg>
      <pc:sldChg chg="del">
        <pc:chgData name="Alana Rivera" userId="S::arg3669@ads.northwestern.edu::fc8b707a-b7e9-4f2a-8d71-2d76819b7881" providerId="AD" clId="Web-{3E81E0CF-E582-4D57-5132-0B6C13973CF0}" dt="2023-12-28T20:04:01.792" v="194"/>
        <pc:sldMkLst>
          <pc:docMk/>
          <pc:sldMk cId="2646520615" sldId="683"/>
        </pc:sldMkLst>
      </pc:sldChg>
      <pc:sldChg chg="del">
        <pc:chgData name="Alana Rivera" userId="S::arg3669@ads.northwestern.edu::fc8b707a-b7e9-4f2a-8d71-2d76819b7881" providerId="AD" clId="Web-{3E81E0CF-E582-4D57-5132-0B6C13973CF0}" dt="2023-12-28T20:04:14.933" v="196"/>
        <pc:sldMkLst>
          <pc:docMk/>
          <pc:sldMk cId="2093351509" sldId="685"/>
        </pc:sldMkLst>
      </pc:sldChg>
      <pc:sldChg chg="del ord">
        <pc:chgData name="Alana Rivera" userId="S::arg3669@ads.northwestern.edu::fc8b707a-b7e9-4f2a-8d71-2d76819b7881" providerId="AD" clId="Web-{3E81E0CF-E582-4D57-5132-0B6C13973CF0}" dt="2023-12-28T20:03:58.151" v="193"/>
        <pc:sldMkLst>
          <pc:docMk/>
          <pc:sldMk cId="441543077" sldId="686"/>
        </pc:sldMkLst>
      </pc:sldChg>
      <pc:sldChg chg="del">
        <pc:chgData name="Alana Rivera" userId="S::arg3669@ads.northwestern.edu::fc8b707a-b7e9-4f2a-8d71-2d76819b7881" providerId="AD" clId="Web-{3E81E0CF-E582-4D57-5132-0B6C13973CF0}" dt="2023-12-28T20:04:06.558" v="195"/>
        <pc:sldMkLst>
          <pc:docMk/>
          <pc:sldMk cId="1641636598" sldId="687"/>
        </pc:sldMkLst>
      </pc:sldChg>
      <pc:sldChg chg="del">
        <pc:chgData name="Alana Rivera" userId="S::arg3669@ads.northwestern.edu::fc8b707a-b7e9-4f2a-8d71-2d76819b7881" providerId="AD" clId="Web-{3E81E0CF-E582-4D57-5132-0B6C13973CF0}" dt="2023-12-28T20:04:18.871" v="197"/>
        <pc:sldMkLst>
          <pc:docMk/>
          <pc:sldMk cId="588023370" sldId="689"/>
        </pc:sldMkLst>
      </pc:sldChg>
      <pc:sldChg chg="del">
        <pc:chgData name="Alana Rivera" userId="S::arg3669@ads.northwestern.edu::fc8b707a-b7e9-4f2a-8d71-2d76819b7881" providerId="AD" clId="Web-{3E81E0CF-E582-4D57-5132-0B6C13973CF0}" dt="2023-12-28T20:29:49.656" v="298"/>
        <pc:sldMkLst>
          <pc:docMk/>
          <pc:sldMk cId="1177085520" sldId="692"/>
        </pc:sldMkLst>
      </pc:sldChg>
      <pc:sldChg chg="del">
        <pc:chgData name="Alana Rivera" userId="S::arg3669@ads.northwestern.edu::fc8b707a-b7e9-4f2a-8d71-2d76819b7881" providerId="AD" clId="Web-{3E81E0CF-E582-4D57-5132-0B6C13973CF0}" dt="2023-12-28T20:29:49.656" v="297"/>
        <pc:sldMkLst>
          <pc:docMk/>
          <pc:sldMk cId="2730238647" sldId="693"/>
        </pc:sldMkLst>
      </pc:sldChg>
      <pc:sldChg chg="del">
        <pc:chgData name="Alana Rivera" userId="S::arg3669@ads.northwestern.edu::fc8b707a-b7e9-4f2a-8d71-2d76819b7881" providerId="AD" clId="Web-{3E81E0CF-E582-4D57-5132-0B6C13973CF0}" dt="2023-12-28T20:29:49.671" v="302"/>
        <pc:sldMkLst>
          <pc:docMk/>
          <pc:sldMk cId="661046635" sldId="694"/>
        </pc:sldMkLst>
      </pc:sldChg>
      <pc:sldChg chg="del">
        <pc:chgData name="Alana Rivera" userId="S::arg3669@ads.northwestern.edu::fc8b707a-b7e9-4f2a-8d71-2d76819b7881" providerId="AD" clId="Web-{3E81E0CF-E582-4D57-5132-0B6C13973CF0}" dt="2023-12-28T20:29:49.671" v="301"/>
        <pc:sldMkLst>
          <pc:docMk/>
          <pc:sldMk cId="3174384986" sldId="695"/>
        </pc:sldMkLst>
      </pc:sldChg>
      <pc:sldChg chg="del">
        <pc:chgData name="Alana Rivera" userId="S::arg3669@ads.northwestern.edu::fc8b707a-b7e9-4f2a-8d71-2d76819b7881" providerId="AD" clId="Web-{3E81E0CF-E582-4D57-5132-0B6C13973CF0}" dt="2023-12-28T20:29:49.671" v="300"/>
        <pc:sldMkLst>
          <pc:docMk/>
          <pc:sldMk cId="4074859317" sldId="696"/>
        </pc:sldMkLst>
      </pc:sldChg>
      <pc:sldChg chg="del">
        <pc:chgData name="Alana Rivera" userId="S::arg3669@ads.northwestern.edu::fc8b707a-b7e9-4f2a-8d71-2d76819b7881" providerId="AD" clId="Web-{3E81E0CF-E582-4D57-5132-0B6C13973CF0}" dt="2023-12-28T20:29:49.671" v="299"/>
        <pc:sldMkLst>
          <pc:docMk/>
          <pc:sldMk cId="1549218491" sldId="697"/>
        </pc:sldMkLst>
      </pc:sldChg>
      <pc:sldChg chg="del">
        <pc:chgData name="Alana Rivera" userId="S::arg3669@ads.northwestern.edu::fc8b707a-b7e9-4f2a-8d71-2d76819b7881" providerId="AD" clId="Web-{3E81E0CF-E582-4D57-5132-0B6C13973CF0}" dt="2023-12-28T20:03:22.228" v="151"/>
        <pc:sldMkLst>
          <pc:docMk/>
          <pc:sldMk cId="1783310840" sldId="698"/>
        </pc:sldMkLst>
      </pc:sldChg>
      <pc:sldChg chg="del">
        <pc:chgData name="Alana Rivera" userId="S::arg3669@ads.northwestern.edu::fc8b707a-b7e9-4f2a-8d71-2d76819b7881" providerId="AD" clId="Web-{3E81E0CF-E582-4D57-5132-0B6C13973CF0}" dt="2023-12-28T20:03:22.228" v="150"/>
        <pc:sldMkLst>
          <pc:docMk/>
          <pc:sldMk cId="2547146411" sldId="699"/>
        </pc:sldMkLst>
      </pc:sldChg>
      <pc:sldChg chg="del">
        <pc:chgData name="Alana Rivera" userId="S::arg3669@ads.northwestern.edu::fc8b707a-b7e9-4f2a-8d71-2d76819b7881" providerId="AD" clId="Web-{3E81E0CF-E582-4D57-5132-0B6C13973CF0}" dt="2023-12-28T20:03:22.197" v="149"/>
        <pc:sldMkLst>
          <pc:docMk/>
          <pc:sldMk cId="2361021200" sldId="700"/>
        </pc:sldMkLst>
      </pc:sldChg>
      <pc:sldChg chg="del">
        <pc:chgData name="Alana Rivera" userId="S::arg3669@ads.northwestern.edu::fc8b707a-b7e9-4f2a-8d71-2d76819b7881" providerId="AD" clId="Web-{3E81E0CF-E582-4D57-5132-0B6C13973CF0}" dt="2023-12-28T20:03:22.182" v="148"/>
        <pc:sldMkLst>
          <pc:docMk/>
          <pc:sldMk cId="2437602958" sldId="701"/>
        </pc:sldMkLst>
      </pc:sldChg>
      <pc:sldChg chg="addSp modSp ord">
        <pc:chgData name="Alana Rivera" userId="S::arg3669@ads.northwestern.edu::fc8b707a-b7e9-4f2a-8d71-2d76819b7881" providerId="AD" clId="Web-{3E81E0CF-E582-4D57-5132-0B6C13973CF0}" dt="2023-12-28T20:25:27.991" v="278"/>
        <pc:sldMkLst>
          <pc:docMk/>
          <pc:sldMk cId="2701760186" sldId="702"/>
        </pc:sldMkLst>
        <pc:spChg chg="mod">
          <ac:chgData name="Alana Rivera" userId="S::arg3669@ads.northwestern.edu::fc8b707a-b7e9-4f2a-8d71-2d76819b7881" providerId="AD" clId="Web-{3E81E0CF-E582-4D57-5132-0B6C13973CF0}" dt="2023-12-28T20:25:19.319" v="276" actId="20577"/>
          <ac:spMkLst>
            <pc:docMk/>
            <pc:sldMk cId="2701760186" sldId="702"/>
            <ac:spMk id="2" creationId="{00000000-0000-0000-0000-000000000000}"/>
          </ac:spMkLst>
        </pc:spChg>
        <pc:picChg chg="add mod">
          <ac:chgData name="Alana Rivera" userId="S::arg3669@ads.northwestern.edu::fc8b707a-b7e9-4f2a-8d71-2d76819b7881" providerId="AD" clId="Web-{3E81E0CF-E582-4D57-5132-0B6C13973CF0}" dt="2023-12-28T20:24:48.630" v="265" actId="1076"/>
          <ac:picMkLst>
            <pc:docMk/>
            <pc:sldMk cId="2701760186" sldId="702"/>
            <ac:picMk id="46" creationId="{5E04828F-545E-7B88-1CDE-A6B8BD1213E3}"/>
          </ac:picMkLst>
        </pc:picChg>
        <pc:picChg chg="add mod">
          <ac:chgData name="Alana Rivera" userId="S::arg3669@ads.northwestern.edu::fc8b707a-b7e9-4f2a-8d71-2d76819b7881" providerId="AD" clId="Web-{3E81E0CF-E582-4D57-5132-0B6C13973CF0}" dt="2023-12-28T20:24:53.802" v="266" actId="1076"/>
          <ac:picMkLst>
            <pc:docMk/>
            <pc:sldMk cId="2701760186" sldId="702"/>
            <ac:picMk id="47" creationId="{C13E9A9E-F1C1-0883-4F89-871783B27D2F}"/>
          </ac:picMkLst>
        </pc:picChg>
      </pc:sldChg>
      <pc:sldChg chg="del">
        <pc:chgData name="Alana Rivera" userId="S::arg3669@ads.northwestern.edu::fc8b707a-b7e9-4f2a-8d71-2d76819b7881" providerId="AD" clId="Web-{3E81E0CF-E582-4D57-5132-0B6C13973CF0}" dt="2023-12-28T17:55:37.740" v="57"/>
        <pc:sldMkLst>
          <pc:docMk/>
          <pc:sldMk cId="1949613945" sldId="705"/>
        </pc:sldMkLst>
      </pc:sldChg>
      <pc:sldChg chg="del">
        <pc:chgData name="Alana Rivera" userId="S::arg3669@ads.northwestern.edu::fc8b707a-b7e9-4f2a-8d71-2d76819b7881" providerId="AD" clId="Web-{3E81E0CF-E582-4D57-5132-0B6C13973CF0}" dt="2023-12-28T17:56:12.194" v="61"/>
        <pc:sldMkLst>
          <pc:docMk/>
          <pc:sldMk cId="790635443" sldId="706"/>
        </pc:sldMkLst>
      </pc:sldChg>
      <pc:sldChg chg="del">
        <pc:chgData name="Alana Rivera" userId="S::arg3669@ads.northwestern.edu::fc8b707a-b7e9-4f2a-8d71-2d76819b7881" providerId="AD" clId="Web-{3E81E0CF-E582-4D57-5132-0B6C13973CF0}" dt="2023-12-28T17:55:24.943" v="55"/>
        <pc:sldMkLst>
          <pc:docMk/>
          <pc:sldMk cId="1643539557" sldId="707"/>
        </pc:sldMkLst>
      </pc:sldChg>
      <pc:sldChg chg="addSp delSp modSp mod setBg">
        <pc:chgData name="Alana Rivera" userId="S::arg3669@ads.northwestern.edu::fc8b707a-b7e9-4f2a-8d71-2d76819b7881" providerId="AD" clId="Web-{3E81E0CF-E582-4D57-5132-0B6C13973CF0}" dt="2023-12-28T17:38:23.759" v="39" actId="1076"/>
        <pc:sldMkLst>
          <pc:docMk/>
          <pc:sldMk cId="4179369718" sldId="713"/>
        </pc:sldMkLst>
        <pc:spChg chg="mod">
          <ac:chgData name="Alana Rivera" userId="S::arg3669@ads.northwestern.edu::fc8b707a-b7e9-4f2a-8d71-2d76819b7881" providerId="AD" clId="Web-{3E81E0CF-E582-4D57-5132-0B6C13973CF0}" dt="2023-12-28T17:37:06.242" v="25" actId="20577"/>
          <ac:spMkLst>
            <pc:docMk/>
            <pc:sldMk cId="4179369718" sldId="713"/>
            <ac:spMk id="2" creationId="{00000000-0000-0000-0000-000000000000}"/>
          </ac:spMkLst>
        </pc:spChg>
        <pc:spChg chg="add mod">
          <ac:chgData name="Alana Rivera" userId="S::arg3669@ads.northwestern.edu::fc8b707a-b7e9-4f2a-8d71-2d76819b7881" providerId="AD" clId="Web-{3E81E0CF-E582-4D57-5132-0B6C13973CF0}" dt="2023-12-28T17:37:54.946" v="34" actId="1076"/>
          <ac:spMkLst>
            <pc:docMk/>
            <pc:sldMk cId="4179369718" sldId="713"/>
            <ac:spMk id="3" creationId="{C3F851F6-772C-CCD7-F5C3-F84D7C2CE2C9}"/>
          </ac:spMkLst>
        </pc:spChg>
        <pc:spChg chg="add">
          <ac:chgData name="Alana Rivera" userId="S::arg3669@ads.northwestern.edu::fc8b707a-b7e9-4f2a-8d71-2d76819b7881" providerId="AD" clId="Web-{3E81E0CF-E582-4D57-5132-0B6C13973CF0}" dt="2023-12-28T17:36:46.257" v="23"/>
          <ac:spMkLst>
            <pc:docMk/>
            <pc:sldMk cId="4179369718" sldId="713"/>
            <ac:spMk id="4" creationId="{00000000-0000-0000-0000-000000000000}"/>
          </ac:spMkLst>
        </pc:spChg>
        <pc:spChg chg="add">
          <ac:chgData name="Alana Rivera" userId="S::arg3669@ads.northwestern.edu::fc8b707a-b7e9-4f2a-8d71-2d76819b7881" providerId="AD" clId="Web-{3E81E0CF-E582-4D57-5132-0B6C13973CF0}" dt="2023-12-28T17:36:46.257" v="23"/>
          <ac:spMkLst>
            <pc:docMk/>
            <pc:sldMk cId="4179369718" sldId="713"/>
            <ac:spMk id="5" creationId="{00000000-0000-0000-0000-000000000000}"/>
          </ac:spMkLst>
        </pc:spChg>
        <pc:spChg chg="mod">
          <ac:chgData name="Alana Rivera" userId="S::arg3669@ads.northwestern.edu::fc8b707a-b7e9-4f2a-8d71-2d76819b7881" providerId="AD" clId="Web-{3E81E0CF-E582-4D57-5132-0B6C13973CF0}" dt="2023-12-28T17:38:23.759" v="39" actId="1076"/>
          <ac:spMkLst>
            <pc:docMk/>
            <pc:sldMk cId="4179369718" sldId="713"/>
            <ac:spMk id="9" creationId="{00000000-0000-0000-0000-000000000000}"/>
          </ac:spMkLst>
        </pc:spChg>
        <pc:spChg chg="del">
          <ac:chgData name="Alana Rivera" userId="S::arg3669@ads.northwestern.edu::fc8b707a-b7e9-4f2a-8d71-2d76819b7881" providerId="AD" clId="Web-{3E81E0CF-E582-4D57-5132-0B6C13973CF0}" dt="2023-12-28T17:29:20.026" v="1"/>
          <ac:spMkLst>
            <pc:docMk/>
            <pc:sldMk cId="4179369718" sldId="713"/>
            <ac:spMk id="10" creationId="{00000000-0000-0000-0000-000000000000}"/>
          </ac:spMkLst>
        </pc:spChg>
        <pc:spChg chg="del mod replId">
          <ac:chgData name="Alana Rivera" userId="S::arg3669@ads.northwestern.edu::fc8b707a-b7e9-4f2a-8d71-2d76819b7881" providerId="AD" clId="Web-{3E81E0CF-E582-4D57-5132-0B6C13973CF0}" dt="2023-12-28T17:36:46.257" v="23"/>
          <ac:spMkLst>
            <pc:docMk/>
            <pc:sldMk cId="4179369718" sldId="713"/>
            <ac:spMk id="11" creationId="{00000000-0000-0000-0000-000000000000}"/>
          </ac:spMkLst>
        </pc:spChg>
        <pc:spChg chg="del">
          <ac:chgData name="Alana Rivera" userId="S::arg3669@ads.northwestern.edu::fc8b707a-b7e9-4f2a-8d71-2d76819b7881" providerId="AD" clId="Web-{3E81E0CF-E582-4D57-5132-0B6C13973CF0}" dt="2023-12-28T17:29:20.151" v="3"/>
          <ac:spMkLst>
            <pc:docMk/>
            <pc:sldMk cId="4179369718" sldId="713"/>
            <ac:spMk id="12" creationId="{00000000-0000-0000-0000-000000000000}"/>
          </ac:spMkLst>
        </pc:spChg>
        <pc:spChg chg="del">
          <ac:chgData name="Alana Rivera" userId="S::arg3669@ads.northwestern.edu::fc8b707a-b7e9-4f2a-8d71-2d76819b7881" providerId="AD" clId="Web-{3E81E0CF-E582-4D57-5132-0B6C13973CF0}" dt="2023-12-28T17:29:20.214" v="4"/>
          <ac:spMkLst>
            <pc:docMk/>
            <pc:sldMk cId="4179369718" sldId="713"/>
            <ac:spMk id="13" creationId="{00000000-0000-0000-0000-000000000000}"/>
          </ac:spMkLst>
        </pc:spChg>
        <pc:spChg chg="add">
          <ac:chgData name="Alana Rivera" userId="S::arg3669@ads.northwestern.edu::fc8b707a-b7e9-4f2a-8d71-2d76819b7881" providerId="AD" clId="Web-{3E81E0CF-E582-4D57-5132-0B6C13973CF0}" dt="2023-12-28T17:36:46.257" v="23"/>
          <ac:spMkLst>
            <pc:docMk/>
            <pc:sldMk cId="4179369718" sldId="713"/>
            <ac:spMk id="14" creationId="{56E9B3E6-E277-4D68-BA48-9CB43FFBD6E2}"/>
          </ac:spMkLst>
        </pc:spChg>
        <pc:spChg chg="add">
          <ac:chgData name="Alana Rivera" userId="S::arg3669@ads.northwestern.edu::fc8b707a-b7e9-4f2a-8d71-2d76819b7881" providerId="AD" clId="Web-{3E81E0CF-E582-4D57-5132-0B6C13973CF0}" dt="2023-12-28T17:36:46.257" v="23"/>
          <ac:spMkLst>
            <pc:docMk/>
            <pc:sldMk cId="4179369718" sldId="713"/>
            <ac:spMk id="21" creationId="{D5B0017B-2ECA-49AF-B397-DC140825DF8D}"/>
          </ac:spMkLst>
        </pc:spChg>
        <pc:grpChg chg="add">
          <ac:chgData name="Alana Rivera" userId="S::arg3669@ads.northwestern.edu::fc8b707a-b7e9-4f2a-8d71-2d76819b7881" providerId="AD" clId="Web-{3E81E0CF-E582-4D57-5132-0B6C13973CF0}" dt="2023-12-28T17:36:46.257" v="23"/>
          <ac:grpSpMkLst>
            <pc:docMk/>
            <pc:sldMk cId="4179369718" sldId="713"/>
            <ac:grpSpMk id="16" creationId="{AE1C45F0-260A-458C-96ED-C1F6D2151219}"/>
          </ac:grpSpMkLst>
        </pc:grpChg>
        <pc:picChg chg="del">
          <ac:chgData name="Alana Rivera" userId="S::arg3669@ads.northwestern.edu::fc8b707a-b7e9-4f2a-8d71-2d76819b7881" providerId="AD" clId="Web-{3E81E0CF-E582-4D57-5132-0B6C13973CF0}" dt="2023-12-28T17:28:53.588" v="0"/>
          <ac:picMkLst>
            <pc:docMk/>
            <pc:sldMk cId="4179369718" sldId="713"/>
            <ac:picMk id="7" creationId="{00000000-0000-0000-0000-000000000000}"/>
          </ac:picMkLst>
        </pc:picChg>
        <pc:picChg chg="mod">
          <ac:chgData name="Alana Rivera" userId="S::arg3669@ads.northwestern.edu::fc8b707a-b7e9-4f2a-8d71-2d76819b7881" providerId="AD" clId="Web-{3E81E0CF-E582-4D57-5132-0B6C13973CF0}" dt="2023-12-28T17:37:45.290" v="30" actId="1076"/>
          <ac:picMkLst>
            <pc:docMk/>
            <pc:sldMk cId="4179369718" sldId="713"/>
            <ac:picMk id="8" creationId="{00000000-0000-0000-0000-000000000000}"/>
          </ac:picMkLst>
        </pc:picChg>
        <pc:cxnChg chg="add">
          <ac:chgData name="Alana Rivera" userId="S::arg3669@ads.northwestern.edu::fc8b707a-b7e9-4f2a-8d71-2d76819b7881" providerId="AD" clId="Web-{3E81E0CF-E582-4D57-5132-0B6C13973CF0}" dt="2023-12-28T17:36:46.257" v="23"/>
          <ac:cxnSpMkLst>
            <pc:docMk/>
            <pc:sldMk cId="4179369718" sldId="713"/>
            <ac:cxnSpMk id="23" creationId="{6CF1BAF6-AD41-4082-B212-8A1F9A2E8779}"/>
          </ac:cxnSpMkLst>
        </pc:cxnChg>
      </pc:sldChg>
      <pc:sldChg chg="del">
        <pc:chgData name="Alana Rivera" userId="S::arg3669@ads.northwestern.edu::fc8b707a-b7e9-4f2a-8d71-2d76819b7881" providerId="AD" clId="Web-{3E81E0CF-E582-4D57-5132-0B6C13973CF0}" dt="2023-12-28T17:55:26.411" v="56"/>
        <pc:sldMkLst>
          <pc:docMk/>
          <pc:sldMk cId="1219261171" sldId="716"/>
        </pc:sldMkLst>
      </pc:sldChg>
      <pc:sldChg chg="del">
        <pc:chgData name="Alana Rivera" userId="S::arg3669@ads.northwestern.edu::fc8b707a-b7e9-4f2a-8d71-2d76819b7881" providerId="AD" clId="Web-{3E81E0CF-E582-4D57-5132-0B6C13973CF0}" dt="2023-12-28T20:03:23.760" v="158"/>
        <pc:sldMkLst>
          <pc:docMk/>
          <pc:sldMk cId="4191050799" sldId="717"/>
        </pc:sldMkLst>
      </pc:sldChg>
      <pc:sldChg chg="del">
        <pc:chgData name="Alana Rivera" userId="S::arg3669@ads.northwestern.edu::fc8b707a-b7e9-4f2a-8d71-2d76819b7881" providerId="AD" clId="Web-{3E81E0CF-E582-4D57-5132-0B6C13973CF0}" dt="2023-12-28T20:03:23.760" v="159"/>
        <pc:sldMkLst>
          <pc:docMk/>
          <pc:sldMk cId="920926381" sldId="718"/>
        </pc:sldMkLst>
      </pc:sldChg>
      <pc:sldChg chg="del">
        <pc:chgData name="Alana Rivera" userId="S::arg3669@ads.northwestern.edu::fc8b707a-b7e9-4f2a-8d71-2d76819b7881" providerId="AD" clId="Web-{3E81E0CF-E582-4D57-5132-0B6C13973CF0}" dt="2023-12-28T20:03:23.760" v="160"/>
        <pc:sldMkLst>
          <pc:docMk/>
          <pc:sldMk cId="1181451199" sldId="719"/>
        </pc:sldMkLst>
      </pc:sldChg>
      <pc:sldChg chg="del">
        <pc:chgData name="Alana Rivera" userId="S::arg3669@ads.northwestern.edu::fc8b707a-b7e9-4f2a-8d71-2d76819b7881" providerId="AD" clId="Web-{3E81E0CF-E582-4D57-5132-0B6C13973CF0}" dt="2023-12-28T20:03:23.760" v="161"/>
        <pc:sldMkLst>
          <pc:docMk/>
          <pc:sldMk cId="102026260" sldId="720"/>
        </pc:sldMkLst>
      </pc:sldChg>
      <pc:sldChg chg="del">
        <pc:chgData name="Alana Rivera" userId="S::arg3669@ads.northwestern.edu::fc8b707a-b7e9-4f2a-8d71-2d76819b7881" providerId="AD" clId="Web-{3E81E0CF-E582-4D57-5132-0B6C13973CF0}" dt="2023-12-28T20:03:23.775" v="162"/>
        <pc:sldMkLst>
          <pc:docMk/>
          <pc:sldMk cId="4038851827" sldId="721"/>
        </pc:sldMkLst>
      </pc:sldChg>
      <pc:sldChg chg="del">
        <pc:chgData name="Alana Rivera" userId="S::arg3669@ads.northwestern.edu::fc8b707a-b7e9-4f2a-8d71-2d76819b7881" providerId="AD" clId="Web-{3E81E0CF-E582-4D57-5132-0B6C13973CF0}" dt="2023-12-28T20:03:23.775" v="163"/>
        <pc:sldMkLst>
          <pc:docMk/>
          <pc:sldMk cId="166818738" sldId="722"/>
        </pc:sldMkLst>
      </pc:sldChg>
      <pc:sldChg chg="del">
        <pc:chgData name="Alana Rivera" userId="S::arg3669@ads.northwestern.edu::fc8b707a-b7e9-4f2a-8d71-2d76819b7881" providerId="AD" clId="Web-{3E81E0CF-E582-4D57-5132-0B6C13973CF0}" dt="2023-12-28T20:03:23.775" v="164"/>
        <pc:sldMkLst>
          <pc:docMk/>
          <pc:sldMk cId="97208790" sldId="723"/>
        </pc:sldMkLst>
      </pc:sldChg>
      <pc:sldChg chg="del">
        <pc:chgData name="Alana Rivera" userId="S::arg3669@ads.northwestern.edu::fc8b707a-b7e9-4f2a-8d71-2d76819b7881" providerId="AD" clId="Web-{3E81E0CF-E582-4D57-5132-0B6C13973CF0}" dt="2023-12-28T20:03:23.791" v="165"/>
        <pc:sldMkLst>
          <pc:docMk/>
          <pc:sldMk cId="2422191514" sldId="724"/>
        </pc:sldMkLst>
      </pc:sldChg>
      <pc:sldChg chg="del">
        <pc:chgData name="Alana Rivera" userId="S::arg3669@ads.northwestern.edu::fc8b707a-b7e9-4f2a-8d71-2d76819b7881" providerId="AD" clId="Web-{3E81E0CF-E582-4D57-5132-0B6C13973CF0}" dt="2023-12-28T20:03:23.791" v="166"/>
        <pc:sldMkLst>
          <pc:docMk/>
          <pc:sldMk cId="3458386910" sldId="725"/>
        </pc:sldMkLst>
      </pc:sldChg>
      <pc:sldChg chg="del">
        <pc:chgData name="Alana Rivera" userId="S::arg3669@ads.northwestern.edu::fc8b707a-b7e9-4f2a-8d71-2d76819b7881" providerId="AD" clId="Web-{3E81E0CF-E582-4D57-5132-0B6C13973CF0}" dt="2023-12-28T20:03:23.791" v="167"/>
        <pc:sldMkLst>
          <pc:docMk/>
          <pc:sldMk cId="1390059426" sldId="726"/>
        </pc:sldMkLst>
      </pc:sldChg>
      <pc:sldChg chg="del">
        <pc:chgData name="Alana Rivera" userId="S::arg3669@ads.northwestern.edu::fc8b707a-b7e9-4f2a-8d71-2d76819b7881" providerId="AD" clId="Web-{3E81E0CF-E582-4D57-5132-0B6C13973CF0}" dt="2023-12-28T20:03:23.791" v="168"/>
        <pc:sldMkLst>
          <pc:docMk/>
          <pc:sldMk cId="3339906105" sldId="727"/>
        </pc:sldMkLst>
      </pc:sldChg>
      <pc:sldChg chg="del">
        <pc:chgData name="Alana Rivera" userId="S::arg3669@ads.northwestern.edu::fc8b707a-b7e9-4f2a-8d71-2d76819b7881" providerId="AD" clId="Web-{3E81E0CF-E582-4D57-5132-0B6C13973CF0}" dt="2023-12-28T20:03:23.791" v="169"/>
        <pc:sldMkLst>
          <pc:docMk/>
          <pc:sldMk cId="2917591221" sldId="728"/>
        </pc:sldMkLst>
      </pc:sldChg>
      <pc:sldChg chg="del">
        <pc:chgData name="Alana Rivera" userId="S::arg3669@ads.northwestern.edu::fc8b707a-b7e9-4f2a-8d71-2d76819b7881" providerId="AD" clId="Web-{3E81E0CF-E582-4D57-5132-0B6C13973CF0}" dt="2023-12-28T20:03:23.807" v="170"/>
        <pc:sldMkLst>
          <pc:docMk/>
          <pc:sldMk cId="3429336150" sldId="729"/>
        </pc:sldMkLst>
      </pc:sldChg>
      <pc:sldChg chg="del">
        <pc:chgData name="Alana Rivera" userId="S::arg3669@ads.northwestern.edu::fc8b707a-b7e9-4f2a-8d71-2d76819b7881" providerId="AD" clId="Web-{3E81E0CF-E582-4D57-5132-0B6C13973CF0}" dt="2023-12-28T20:03:23.807" v="171"/>
        <pc:sldMkLst>
          <pc:docMk/>
          <pc:sldMk cId="1617559145" sldId="730"/>
        </pc:sldMkLst>
      </pc:sldChg>
      <pc:sldChg chg="del">
        <pc:chgData name="Alana Rivera" userId="S::arg3669@ads.northwestern.edu::fc8b707a-b7e9-4f2a-8d71-2d76819b7881" providerId="AD" clId="Web-{3E81E0CF-E582-4D57-5132-0B6C13973CF0}" dt="2023-12-28T20:03:23.807" v="172"/>
        <pc:sldMkLst>
          <pc:docMk/>
          <pc:sldMk cId="2888392633" sldId="731"/>
        </pc:sldMkLst>
      </pc:sldChg>
      <pc:sldChg chg="del">
        <pc:chgData name="Alana Rivera" userId="S::arg3669@ads.northwestern.edu::fc8b707a-b7e9-4f2a-8d71-2d76819b7881" providerId="AD" clId="Web-{3E81E0CF-E582-4D57-5132-0B6C13973CF0}" dt="2023-12-28T20:03:23.807" v="173"/>
        <pc:sldMkLst>
          <pc:docMk/>
          <pc:sldMk cId="1046854343" sldId="732"/>
        </pc:sldMkLst>
      </pc:sldChg>
      <pc:sldChg chg="del">
        <pc:chgData name="Alana Rivera" userId="S::arg3669@ads.northwestern.edu::fc8b707a-b7e9-4f2a-8d71-2d76819b7881" providerId="AD" clId="Web-{3E81E0CF-E582-4D57-5132-0B6C13973CF0}" dt="2023-12-28T20:03:23.807" v="174"/>
        <pc:sldMkLst>
          <pc:docMk/>
          <pc:sldMk cId="1800188643" sldId="733"/>
        </pc:sldMkLst>
      </pc:sldChg>
      <pc:sldChg chg="del">
        <pc:chgData name="Alana Rivera" userId="S::arg3669@ads.northwestern.edu::fc8b707a-b7e9-4f2a-8d71-2d76819b7881" providerId="AD" clId="Web-{3E81E0CF-E582-4D57-5132-0B6C13973CF0}" dt="2023-12-28T20:03:23.807" v="175"/>
        <pc:sldMkLst>
          <pc:docMk/>
          <pc:sldMk cId="2965389356" sldId="734"/>
        </pc:sldMkLst>
      </pc:sldChg>
      <pc:sldChg chg="del">
        <pc:chgData name="Alana Rivera" userId="S::arg3669@ads.northwestern.edu::fc8b707a-b7e9-4f2a-8d71-2d76819b7881" providerId="AD" clId="Web-{3E81E0CF-E582-4D57-5132-0B6C13973CF0}" dt="2023-12-28T20:03:23.822" v="177"/>
        <pc:sldMkLst>
          <pc:docMk/>
          <pc:sldMk cId="2012107243" sldId="735"/>
        </pc:sldMkLst>
      </pc:sldChg>
      <pc:sldChg chg="del">
        <pc:chgData name="Alana Rivera" userId="S::arg3669@ads.northwestern.edu::fc8b707a-b7e9-4f2a-8d71-2d76819b7881" providerId="AD" clId="Web-{3E81E0CF-E582-4D57-5132-0B6C13973CF0}" dt="2023-12-28T20:03:24.072" v="178"/>
        <pc:sldMkLst>
          <pc:docMk/>
          <pc:sldMk cId="1141813547" sldId="737"/>
        </pc:sldMkLst>
      </pc:sldChg>
      <pc:sldChg chg="del">
        <pc:chgData name="Alana Rivera" userId="S::arg3669@ads.northwestern.edu::fc8b707a-b7e9-4f2a-8d71-2d76819b7881" providerId="AD" clId="Web-{3E81E0CF-E582-4D57-5132-0B6C13973CF0}" dt="2023-12-28T20:03:23.432" v="155"/>
        <pc:sldMkLst>
          <pc:docMk/>
          <pc:sldMk cId="3838522428" sldId="741"/>
        </pc:sldMkLst>
      </pc:sldChg>
      <pc:sldChg chg="del">
        <pc:chgData name="Alana Rivera" userId="S::arg3669@ads.northwestern.edu::fc8b707a-b7e9-4f2a-8d71-2d76819b7881" providerId="AD" clId="Web-{3E81E0CF-E582-4D57-5132-0B6C13973CF0}" dt="2023-12-28T20:03:23.760" v="157"/>
        <pc:sldMkLst>
          <pc:docMk/>
          <pc:sldMk cId="2759565514" sldId="742"/>
        </pc:sldMkLst>
      </pc:sldChg>
      <pc:sldChg chg="del">
        <pc:chgData name="Alana Rivera" userId="S::arg3669@ads.northwestern.edu::fc8b707a-b7e9-4f2a-8d71-2d76819b7881" providerId="AD" clId="Web-{3E81E0CF-E582-4D57-5132-0B6C13973CF0}" dt="2023-12-28T20:03:23.744" v="156"/>
        <pc:sldMkLst>
          <pc:docMk/>
          <pc:sldMk cId="1077647041" sldId="743"/>
        </pc:sldMkLst>
      </pc:sldChg>
      <pc:sldChg chg="del">
        <pc:chgData name="Alana Rivera" userId="S::arg3669@ads.northwestern.edu::fc8b707a-b7e9-4f2a-8d71-2d76819b7881" providerId="AD" clId="Web-{3E81E0CF-E582-4D57-5132-0B6C13973CF0}" dt="2023-12-28T20:34:19.430" v="309"/>
        <pc:sldMkLst>
          <pc:docMk/>
          <pc:sldMk cId="2424722352" sldId="744"/>
        </pc:sldMkLst>
      </pc:sldChg>
      <pc:sldChg chg="del">
        <pc:chgData name="Alana Rivera" userId="S::arg3669@ads.northwestern.edu::fc8b707a-b7e9-4f2a-8d71-2d76819b7881" providerId="AD" clId="Web-{3E81E0CF-E582-4D57-5132-0B6C13973CF0}" dt="2023-12-28T17:56:02.569" v="60"/>
        <pc:sldMkLst>
          <pc:docMk/>
          <pc:sldMk cId="1758158855" sldId="747"/>
        </pc:sldMkLst>
      </pc:sldChg>
      <pc:sldChg chg="del">
        <pc:chgData name="Alana Rivera" userId="S::arg3669@ads.northwestern.edu::fc8b707a-b7e9-4f2a-8d71-2d76819b7881" providerId="AD" clId="Web-{3E81E0CF-E582-4D57-5132-0B6C13973CF0}" dt="2023-12-28T20:03:23.822" v="176"/>
        <pc:sldMkLst>
          <pc:docMk/>
          <pc:sldMk cId="2760953721" sldId="749"/>
        </pc:sldMkLst>
      </pc:sldChg>
      <pc:sldChg chg="modSp new">
        <pc:chgData name="Alana Rivera" userId="S::arg3669@ads.northwestern.edu::fc8b707a-b7e9-4f2a-8d71-2d76819b7881" providerId="AD" clId="Web-{3E81E0CF-E582-4D57-5132-0B6C13973CF0}" dt="2023-12-28T17:39:38.902" v="53" actId="20577"/>
        <pc:sldMkLst>
          <pc:docMk/>
          <pc:sldMk cId="3727043068" sldId="751"/>
        </pc:sldMkLst>
        <pc:spChg chg="mod">
          <ac:chgData name="Alana Rivera" userId="S::arg3669@ads.northwestern.edu::fc8b707a-b7e9-4f2a-8d71-2d76819b7881" providerId="AD" clId="Web-{3E81E0CF-E582-4D57-5132-0B6C13973CF0}" dt="2023-12-28T17:38:55.698" v="50" actId="20577"/>
          <ac:spMkLst>
            <pc:docMk/>
            <pc:sldMk cId="3727043068" sldId="751"/>
            <ac:spMk id="2" creationId="{3C038A15-F437-68D4-81DF-DBC477C993DE}"/>
          </ac:spMkLst>
        </pc:spChg>
        <pc:spChg chg="mod">
          <ac:chgData name="Alana Rivera" userId="S::arg3669@ads.northwestern.edu::fc8b707a-b7e9-4f2a-8d71-2d76819b7881" providerId="AD" clId="Web-{3E81E0CF-E582-4D57-5132-0B6C13973CF0}" dt="2023-12-28T17:39:38.902" v="53" actId="20577"/>
          <ac:spMkLst>
            <pc:docMk/>
            <pc:sldMk cId="3727043068" sldId="751"/>
            <ac:spMk id="3" creationId="{8DE65E7E-52D5-824B-D062-E5E6FF08565D}"/>
          </ac:spMkLst>
        </pc:spChg>
      </pc:sldChg>
      <pc:sldChg chg="modSp add ord replId">
        <pc:chgData name="Alana Rivera" userId="S::arg3669@ads.northwestern.edu::fc8b707a-b7e9-4f2a-8d71-2d76819b7881" providerId="AD" clId="Web-{3E81E0CF-E582-4D57-5132-0B6C13973CF0}" dt="2023-12-28T20:15:05.954" v="236" actId="20577"/>
        <pc:sldMkLst>
          <pc:docMk/>
          <pc:sldMk cId="1648191600" sldId="752"/>
        </pc:sldMkLst>
        <pc:spChg chg="mod">
          <ac:chgData name="Alana Rivera" userId="S::arg3669@ads.northwestern.edu::fc8b707a-b7e9-4f2a-8d71-2d76819b7881" providerId="AD" clId="Web-{3E81E0CF-E582-4D57-5132-0B6C13973CF0}" dt="2023-12-28T20:15:05.954" v="236" actId="20577"/>
          <ac:spMkLst>
            <pc:docMk/>
            <pc:sldMk cId="1648191600" sldId="752"/>
            <ac:spMk id="2" creationId="{15BED8CA-F754-E03C-D9CA-FEC2EE4D194D}"/>
          </ac:spMkLst>
        </pc:spChg>
      </pc:sldChg>
      <pc:sldChg chg="new del">
        <pc:chgData name="Alana Rivera" userId="S::arg3669@ads.northwestern.edu::fc8b707a-b7e9-4f2a-8d71-2d76819b7881" providerId="AD" clId="Web-{3E81E0CF-E582-4D57-5132-0B6C13973CF0}" dt="2023-12-28T18:16:31.930" v="99"/>
        <pc:sldMkLst>
          <pc:docMk/>
          <pc:sldMk cId="3279171112" sldId="753"/>
        </pc:sldMkLst>
      </pc:sldChg>
      <pc:sldChg chg="addSp modSp new del mod setBg">
        <pc:chgData name="Alana Rivera" userId="S::arg3669@ads.northwestern.edu::fc8b707a-b7e9-4f2a-8d71-2d76819b7881" providerId="AD" clId="Web-{3E81E0CF-E582-4D57-5132-0B6C13973CF0}" dt="2023-12-28T20:16:52.427" v="241"/>
        <pc:sldMkLst>
          <pc:docMk/>
          <pc:sldMk cId="3026235474" sldId="754"/>
        </pc:sldMkLst>
        <pc:spChg chg="mod">
          <ac:chgData name="Alana Rivera" userId="S::arg3669@ads.northwestern.edu::fc8b707a-b7e9-4f2a-8d71-2d76819b7881" providerId="AD" clId="Web-{3E81E0CF-E582-4D57-5132-0B6C13973CF0}" dt="2023-12-28T18:16:08.679" v="96" actId="1076"/>
          <ac:spMkLst>
            <pc:docMk/>
            <pc:sldMk cId="3026235474" sldId="754"/>
            <ac:spMk id="2" creationId="{034159DB-6549-CDBE-94A4-9560F62347FA}"/>
          </ac:spMkLst>
        </pc:spChg>
        <pc:spChg chg="mod">
          <ac:chgData name="Alana Rivera" userId="S::arg3669@ads.northwestern.edu::fc8b707a-b7e9-4f2a-8d71-2d76819b7881" providerId="AD" clId="Web-{3E81E0CF-E582-4D57-5132-0B6C13973CF0}" dt="2023-12-28T18:16:20.648" v="98" actId="20577"/>
          <ac:spMkLst>
            <pc:docMk/>
            <pc:sldMk cId="3026235474" sldId="754"/>
            <ac:spMk id="3" creationId="{3846A8C3-E3A7-FFD9-66D0-794C657EE456}"/>
          </ac:spMkLst>
        </pc:spChg>
        <pc:spChg chg="mod ord">
          <ac:chgData name="Alana Rivera" userId="S::arg3669@ads.northwestern.edu::fc8b707a-b7e9-4f2a-8d71-2d76819b7881" providerId="AD" clId="Web-{3E81E0CF-E582-4D57-5132-0B6C13973CF0}" dt="2023-12-28T18:15:44.538" v="93"/>
          <ac:spMkLst>
            <pc:docMk/>
            <pc:sldMk cId="3026235474" sldId="754"/>
            <ac:spMk id="4" creationId="{E7976E66-E5F5-49CD-B29C-E88DB1406A4F}"/>
          </ac:spMkLst>
        </pc:spChg>
        <pc:spChg chg="mod ord">
          <ac:chgData name="Alana Rivera" userId="S::arg3669@ads.northwestern.edu::fc8b707a-b7e9-4f2a-8d71-2d76819b7881" providerId="AD" clId="Web-{3E81E0CF-E582-4D57-5132-0B6C13973CF0}" dt="2023-12-28T18:15:44.538" v="93"/>
          <ac:spMkLst>
            <pc:docMk/>
            <pc:sldMk cId="3026235474" sldId="754"/>
            <ac:spMk id="5" creationId="{EAB01E47-1A0D-ECD9-9045-C6DBA08AC91A}"/>
          </ac:spMkLst>
        </pc:spChg>
        <pc:spChg chg="add">
          <ac:chgData name="Alana Rivera" userId="S::arg3669@ads.northwestern.edu::fc8b707a-b7e9-4f2a-8d71-2d76819b7881" providerId="AD" clId="Web-{3E81E0CF-E582-4D57-5132-0B6C13973CF0}" dt="2023-12-28T18:15:44.538" v="93"/>
          <ac:spMkLst>
            <pc:docMk/>
            <pc:sldMk cId="3026235474" sldId="754"/>
            <ac:spMk id="11" creationId="{F13C74B1-5B17-4795-BED0-7140497B445A}"/>
          </ac:spMkLst>
        </pc:spChg>
        <pc:spChg chg="add">
          <ac:chgData name="Alana Rivera" userId="S::arg3669@ads.northwestern.edu::fc8b707a-b7e9-4f2a-8d71-2d76819b7881" providerId="AD" clId="Web-{3E81E0CF-E582-4D57-5132-0B6C13973CF0}" dt="2023-12-28T18:15:44.538" v="93"/>
          <ac:spMkLst>
            <pc:docMk/>
            <pc:sldMk cId="3026235474" sldId="754"/>
            <ac:spMk id="13" creationId="{D4974D33-8DC5-464E-8C6D-BE58F0669C17}"/>
          </ac:spMkLst>
        </pc:spChg>
        <pc:picChg chg="add mod">
          <ac:chgData name="Alana Rivera" userId="S::arg3669@ads.northwestern.edu::fc8b707a-b7e9-4f2a-8d71-2d76819b7881" providerId="AD" clId="Web-{3E81E0CF-E582-4D57-5132-0B6C13973CF0}" dt="2023-12-28T18:15:44.538" v="93"/>
          <ac:picMkLst>
            <pc:docMk/>
            <pc:sldMk cId="3026235474" sldId="754"/>
            <ac:picMk id="6" creationId="{E980A6D2-0325-7DA8-CD0A-30BC07B65A5C}"/>
          </ac:picMkLst>
        </pc:picChg>
      </pc:sldChg>
      <pc:sldChg chg="addSp delSp modSp new del">
        <pc:chgData name="Alana Rivera" userId="S::arg3669@ads.northwestern.edu::fc8b707a-b7e9-4f2a-8d71-2d76819b7881" providerId="AD" clId="Web-{3E81E0CF-E582-4D57-5132-0B6C13973CF0}" dt="2023-12-28T20:16:52.427" v="240"/>
        <pc:sldMkLst>
          <pc:docMk/>
          <pc:sldMk cId="2330609099" sldId="755"/>
        </pc:sldMkLst>
        <pc:spChg chg="mod">
          <ac:chgData name="Alana Rivera" userId="S::arg3669@ads.northwestern.edu::fc8b707a-b7e9-4f2a-8d71-2d76819b7881" providerId="AD" clId="Web-{3E81E0CF-E582-4D57-5132-0B6C13973CF0}" dt="2023-12-28T18:23:33.663" v="108" actId="20577"/>
          <ac:spMkLst>
            <pc:docMk/>
            <pc:sldMk cId="2330609099" sldId="755"/>
            <ac:spMk id="2" creationId="{5A3C7BFC-0CCC-3C1A-3FA3-98145A949055}"/>
          </ac:spMkLst>
        </pc:spChg>
        <pc:spChg chg="mod">
          <ac:chgData name="Alana Rivera" userId="S::arg3669@ads.northwestern.edu::fc8b707a-b7e9-4f2a-8d71-2d76819b7881" providerId="AD" clId="Web-{3E81E0CF-E582-4D57-5132-0B6C13973CF0}" dt="2023-12-28T19:57:52.701" v="139" actId="1076"/>
          <ac:spMkLst>
            <pc:docMk/>
            <pc:sldMk cId="2330609099" sldId="755"/>
            <ac:spMk id="3" creationId="{C20FF2E5-1A48-DE57-9A64-F917A931DCA8}"/>
          </ac:spMkLst>
        </pc:spChg>
        <pc:spChg chg="add mod">
          <ac:chgData name="Alana Rivera" userId="S::arg3669@ads.northwestern.edu::fc8b707a-b7e9-4f2a-8d71-2d76819b7881" providerId="AD" clId="Web-{3E81E0CF-E582-4D57-5132-0B6C13973CF0}" dt="2023-12-28T19:58:21.515" v="144" actId="1076"/>
          <ac:spMkLst>
            <pc:docMk/>
            <pc:sldMk cId="2330609099" sldId="755"/>
            <ac:spMk id="7" creationId="{A942DC6C-F66D-94F9-D985-9B736DF49FA2}"/>
          </ac:spMkLst>
        </pc:spChg>
        <pc:spChg chg="add mod">
          <ac:chgData name="Alana Rivera" userId="S::arg3669@ads.northwestern.edu::fc8b707a-b7e9-4f2a-8d71-2d76819b7881" providerId="AD" clId="Web-{3E81E0CF-E582-4D57-5132-0B6C13973CF0}" dt="2023-12-28T19:58:21.562" v="145" actId="1076"/>
          <ac:spMkLst>
            <pc:docMk/>
            <pc:sldMk cId="2330609099" sldId="755"/>
            <ac:spMk id="8" creationId="{D8C816BB-EE4A-48F8-6A8A-CBEBE799E5F6}"/>
          </ac:spMkLst>
        </pc:spChg>
        <pc:spChg chg="add del">
          <ac:chgData name="Alana Rivera" userId="S::arg3669@ads.northwestern.edu::fc8b707a-b7e9-4f2a-8d71-2d76819b7881" providerId="AD" clId="Web-{3E81E0CF-E582-4D57-5132-0B6C13973CF0}" dt="2023-12-28T19:01:55.191" v="136"/>
          <ac:spMkLst>
            <pc:docMk/>
            <pc:sldMk cId="2330609099" sldId="755"/>
            <ac:spMk id="10" creationId="{143BF4FD-2E55-8444-A34A-74A186A84F91}"/>
          </ac:spMkLst>
        </pc:spChg>
        <pc:picChg chg="add mod">
          <ac:chgData name="Alana Rivera" userId="S::arg3669@ads.northwestern.edu::fc8b707a-b7e9-4f2a-8d71-2d76819b7881" providerId="AD" clId="Web-{3E81E0CF-E582-4D57-5132-0B6C13973CF0}" dt="2023-12-28T19:58:21.452" v="143" actId="1076"/>
          <ac:picMkLst>
            <pc:docMk/>
            <pc:sldMk cId="2330609099" sldId="755"/>
            <ac:picMk id="6" creationId="{BD863734-3684-9CAB-7C57-2E74603A9287}"/>
          </ac:picMkLst>
        </pc:picChg>
        <pc:picChg chg="add del mod">
          <ac:chgData name="Alana Rivera" userId="S::arg3669@ads.northwestern.edu::fc8b707a-b7e9-4f2a-8d71-2d76819b7881" providerId="AD" clId="Web-{3E81E0CF-E582-4D57-5132-0B6C13973CF0}" dt="2023-12-28T19:58:32.359" v="146"/>
          <ac:picMkLst>
            <pc:docMk/>
            <pc:sldMk cId="2330609099" sldId="755"/>
            <ac:picMk id="9" creationId="{740A9BB3-5B2A-DFA3-26B9-2A3182FE8232}"/>
          </ac:picMkLst>
        </pc:picChg>
      </pc:sldChg>
      <pc:sldChg chg="add del replId">
        <pc:chgData name="Alana Rivera" userId="S::arg3669@ads.northwestern.edu::fc8b707a-b7e9-4f2a-8d71-2d76819b7881" providerId="AD" clId="Web-{3E81E0CF-E582-4D57-5132-0B6C13973CF0}" dt="2023-12-28T20:16:52.427" v="242"/>
        <pc:sldMkLst>
          <pc:docMk/>
          <pc:sldMk cId="2525321083" sldId="756"/>
        </pc:sldMkLst>
      </pc:sldChg>
      <pc:sldChg chg="add del replId">
        <pc:chgData name="Alana Rivera" userId="S::arg3669@ads.northwestern.edu::fc8b707a-b7e9-4f2a-8d71-2d76819b7881" providerId="AD" clId="Web-{3E81E0CF-E582-4D57-5132-0B6C13973CF0}" dt="2023-12-28T20:16:22.785" v="239"/>
        <pc:sldMkLst>
          <pc:docMk/>
          <pc:sldMk cId="3610175026" sldId="757"/>
        </pc:sldMkLst>
      </pc:sldChg>
      <pc:sldChg chg="addSp modSp new mod setBg">
        <pc:chgData name="Alana Rivera" userId="S::arg3669@ads.northwestern.edu::fc8b707a-b7e9-4f2a-8d71-2d76819b7881" providerId="AD" clId="Web-{3E81E0CF-E582-4D57-5132-0B6C13973CF0}" dt="2023-12-28T20:10:03.492" v="217" actId="20577"/>
        <pc:sldMkLst>
          <pc:docMk/>
          <pc:sldMk cId="1190154492" sldId="758"/>
        </pc:sldMkLst>
        <pc:spChg chg="mod">
          <ac:chgData name="Alana Rivera" userId="S::arg3669@ads.northwestern.edu::fc8b707a-b7e9-4f2a-8d71-2d76819b7881" providerId="AD" clId="Web-{3E81E0CF-E582-4D57-5132-0B6C13973CF0}" dt="2023-12-28T20:09:39.209" v="211"/>
          <ac:spMkLst>
            <pc:docMk/>
            <pc:sldMk cId="1190154492" sldId="758"/>
            <ac:spMk id="2" creationId="{B0C85E68-E425-25E8-B412-38FE57A548E8}"/>
          </ac:spMkLst>
        </pc:spChg>
        <pc:spChg chg="mod">
          <ac:chgData name="Alana Rivera" userId="S::arg3669@ads.northwestern.edu::fc8b707a-b7e9-4f2a-8d71-2d76819b7881" providerId="AD" clId="Web-{3E81E0CF-E582-4D57-5132-0B6C13973CF0}" dt="2023-12-28T20:10:03.492" v="217" actId="20577"/>
          <ac:spMkLst>
            <pc:docMk/>
            <pc:sldMk cId="1190154492" sldId="758"/>
            <ac:spMk id="3" creationId="{34B6AF32-4323-7B5C-9857-C6582CF10CDF}"/>
          </ac:spMkLst>
        </pc:spChg>
        <pc:spChg chg="mod ord">
          <ac:chgData name="Alana Rivera" userId="S::arg3669@ads.northwestern.edu::fc8b707a-b7e9-4f2a-8d71-2d76819b7881" providerId="AD" clId="Web-{3E81E0CF-E582-4D57-5132-0B6C13973CF0}" dt="2023-12-28T20:09:39.209" v="211"/>
          <ac:spMkLst>
            <pc:docMk/>
            <pc:sldMk cId="1190154492" sldId="758"/>
            <ac:spMk id="4" creationId="{731D407B-9DCA-7CFB-384C-930FEA6C9655}"/>
          </ac:spMkLst>
        </pc:spChg>
        <pc:spChg chg="mod ord">
          <ac:chgData name="Alana Rivera" userId="S::arg3669@ads.northwestern.edu::fc8b707a-b7e9-4f2a-8d71-2d76819b7881" providerId="AD" clId="Web-{3E81E0CF-E582-4D57-5132-0B6C13973CF0}" dt="2023-12-28T20:09:39.209" v="211"/>
          <ac:spMkLst>
            <pc:docMk/>
            <pc:sldMk cId="1190154492" sldId="758"/>
            <ac:spMk id="5" creationId="{445DA9CE-D94D-1338-0208-AABBD67843FD}"/>
          </ac:spMkLst>
        </pc:spChg>
        <pc:spChg chg="add">
          <ac:chgData name="Alana Rivera" userId="S::arg3669@ads.northwestern.edu::fc8b707a-b7e9-4f2a-8d71-2d76819b7881" providerId="AD" clId="Web-{3E81E0CF-E582-4D57-5132-0B6C13973CF0}" dt="2023-12-28T20:09:39.209" v="211"/>
          <ac:spMkLst>
            <pc:docMk/>
            <pc:sldMk cId="1190154492" sldId="758"/>
            <ac:spMk id="11" creationId="{1A95671B-3CC6-4792-9114-B74FAEA224E6}"/>
          </ac:spMkLst>
        </pc:spChg>
        <pc:picChg chg="add mod">
          <ac:chgData name="Alana Rivera" userId="S::arg3669@ads.northwestern.edu::fc8b707a-b7e9-4f2a-8d71-2d76819b7881" providerId="AD" clId="Web-{3E81E0CF-E582-4D57-5132-0B6C13973CF0}" dt="2023-12-28T20:09:48.257" v="213" actId="1076"/>
          <ac:picMkLst>
            <pc:docMk/>
            <pc:sldMk cId="1190154492" sldId="758"/>
            <ac:picMk id="6" creationId="{34AF0CA7-50BF-675D-7E8F-BB046F8A7472}"/>
          </ac:picMkLst>
        </pc:picChg>
      </pc:sldChg>
      <pc:sldChg chg="addSp delSp modSp new">
        <pc:chgData name="Alana Rivera" userId="S::arg3669@ads.northwestern.edu::fc8b707a-b7e9-4f2a-8d71-2d76819b7881" providerId="AD" clId="Web-{3E81E0CF-E582-4D57-5132-0B6C13973CF0}" dt="2023-12-28T20:48:20.239" v="383"/>
        <pc:sldMkLst>
          <pc:docMk/>
          <pc:sldMk cId="756675242" sldId="759"/>
        </pc:sldMkLst>
        <pc:spChg chg="mod">
          <ac:chgData name="Alana Rivera" userId="S::arg3669@ads.northwestern.edu::fc8b707a-b7e9-4f2a-8d71-2d76819b7881" providerId="AD" clId="Web-{3E81E0CF-E582-4D57-5132-0B6C13973CF0}" dt="2023-12-28T20:19:14.369" v="246"/>
          <ac:spMkLst>
            <pc:docMk/>
            <pc:sldMk cId="756675242" sldId="759"/>
            <ac:spMk id="2" creationId="{6659FA61-332B-9147-CBEF-669C83839D2A}"/>
          </ac:spMkLst>
        </pc:spChg>
        <pc:spChg chg="del">
          <ac:chgData name="Alana Rivera" userId="S::arg3669@ads.northwestern.edu::fc8b707a-b7e9-4f2a-8d71-2d76819b7881" providerId="AD" clId="Web-{3E81E0CF-E582-4D57-5132-0B6C13973CF0}" dt="2023-12-28T20:11:46.229" v="223"/>
          <ac:spMkLst>
            <pc:docMk/>
            <pc:sldMk cId="756675242" sldId="759"/>
            <ac:spMk id="3" creationId="{12858531-1FAE-1E7E-429F-7D0B8D90599B}"/>
          </ac:spMkLst>
        </pc:spChg>
        <pc:spChg chg="add mod">
          <ac:chgData name="Alana Rivera" userId="S::arg3669@ads.northwestern.edu::fc8b707a-b7e9-4f2a-8d71-2d76819b7881" providerId="AD" clId="Web-{3E81E0CF-E582-4D57-5132-0B6C13973CF0}" dt="2023-12-28T20:48:20.239" v="383"/>
          <ac:spMkLst>
            <pc:docMk/>
            <pc:sldMk cId="756675242" sldId="759"/>
            <ac:spMk id="7" creationId="{AE61B84F-62BA-9F35-1E68-ADB14A45DC6E}"/>
          </ac:spMkLst>
        </pc:spChg>
        <pc:picChg chg="add mod ord">
          <ac:chgData name="Alana Rivera" userId="S::arg3669@ads.northwestern.edu::fc8b707a-b7e9-4f2a-8d71-2d76819b7881" providerId="AD" clId="Web-{3E81E0CF-E582-4D57-5132-0B6C13973CF0}" dt="2023-12-28T20:11:50.776" v="224" actId="1076"/>
          <ac:picMkLst>
            <pc:docMk/>
            <pc:sldMk cId="756675242" sldId="759"/>
            <ac:picMk id="6" creationId="{AA0A5014-B86C-03A4-2B39-1218D9BF9424}"/>
          </ac:picMkLst>
        </pc:picChg>
      </pc:sldChg>
      <pc:sldChg chg="addSp delSp modSp new mod setBg">
        <pc:chgData name="Alana Rivera" userId="S::arg3669@ads.northwestern.edu::fc8b707a-b7e9-4f2a-8d71-2d76819b7881" providerId="AD" clId="Web-{3E81E0CF-E582-4D57-5132-0B6C13973CF0}" dt="2023-12-28T20:14:43.719" v="235" actId="20577"/>
        <pc:sldMkLst>
          <pc:docMk/>
          <pc:sldMk cId="1323624667" sldId="760"/>
        </pc:sldMkLst>
        <pc:spChg chg="mod ord">
          <ac:chgData name="Alana Rivera" userId="S::arg3669@ads.northwestern.edu::fc8b707a-b7e9-4f2a-8d71-2d76819b7881" providerId="AD" clId="Web-{3E81E0CF-E582-4D57-5132-0B6C13973CF0}" dt="2023-12-28T20:14:43.719" v="235" actId="20577"/>
          <ac:spMkLst>
            <pc:docMk/>
            <pc:sldMk cId="1323624667" sldId="760"/>
            <ac:spMk id="2" creationId="{F6235EBB-D9A1-2612-4FF2-345127488ED5}"/>
          </ac:spMkLst>
        </pc:spChg>
        <pc:spChg chg="del">
          <ac:chgData name="Alana Rivera" userId="S::arg3669@ads.northwestern.edu::fc8b707a-b7e9-4f2a-8d71-2d76819b7881" providerId="AD" clId="Web-{3E81E0CF-E582-4D57-5132-0B6C13973CF0}" dt="2023-12-28T20:14:24.328" v="233"/>
          <ac:spMkLst>
            <pc:docMk/>
            <pc:sldMk cId="1323624667" sldId="760"/>
            <ac:spMk id="3" creationId="{DB5C4B4F-F19A-BFB2-92EE-2AF9241CDF39}"/>
          </ac:spMkLst>
        </pc:spChg>
        <pc:spChg chg="mod ord">
          <ac:chgData name="Alana Rivera" userId="S::arg3669@ads.northwestern.edu::fc8b707a-b7e9-4f2a-8d71-2d76819b7881" providerId="AD" clId="Web-{3E81E0CF-E582-4D57-5132-0B6C13973CF0}" dt="2023-12-28T20:14:31" v="234"/>
          <ac:spMkLst>
            <pc:docMk/>
            <pc:sldMk cId="1323624667" sldId="760"/>
            <ac:spMk id="4" creationId="{FD0B2B5C-5571-4663-8425-BE77F226F2A5}"/>
          </ac:spMkLst>
        </pc:spChg>
        <pc:spChg chg="mod">
          <ac:chgData name="Alana Rivera" userId="S::arg3669@ads.northwestern.edu::fc8b707a-b7e9-4f2a-8d71-2d76819b7881" providerId="AD" clId="Web-{3E81E0CF-E582-4D57-5132-0B6C13973CF0}" dt="2023-12-28T20:14:31" v="234"/>
          <ac:spMkLst>
            <pc:docMk/>
            <pc:sldMk cId="1323624667" sldId="760"/>
            <ac:spMk id="5" creationId="{7EBF76B5-564B-1605-AA62-4B457995CC4B}"/>
          </ac:spMkLst>
        </pc:spChg>
        <pc:spChg chg="add">
          <ac:chgData name="Alana Rivera" userId="S::arg3669@ads.northwestern.edu::fc8b707a-b7e9-4f2a-8d71-2d76819b7881" providerId="AD" clId="Web-{3E81E0CF-E582-4D57-5132-0B6C13973CF0}" dt="2023-12-28T20:14:31" v="234"/>
          <ac:spMkLst>
            <pc:docMk/>
            <pc:sldMk cId="1323624667" sldId="760"/>
            <ac:spMk id="11" creationId="{37C89E4B-3C9F-44B9-8B86-D9E3D112D8EC}"/>
          </ac:spMkLst>
        </pc:spChg>
        <pc:picChg chg="add mod ord">
          <ac:chgData name="Alana Rivera" userId="S::arg3669@ads.northwestern.edu::fc8b707a-b7e9-4f2a-8d71-2d76819b7881" providerId="AD" clId="Web-{3E81E0CF-E582-4D57-5132-0B6C13973CF0}" dt="2023-12-28T20:14:31" v="234"/>
          <ac:picMkLst>
            <pc:docMk/>
            <pc:sldMk cId="1323624667" sldId="760"/>
            <ac:picMk id="6" creationId="{5C4A6469-2D7A-B4A3-0937-8008F2A6F29A}"/>
          </ac:picMkLst>
        </pc:picChg>
        <pc:cxnChg chg="add">
          <ac:chgData name="Alana Rivera" userId="S::arg3669@ads.northwestern.edu::fc8b707a-b7e9-4f2a-8d71-2d76819b7881" providerId="AD" clId="Web-{3E81E0CF-E582-4D57-5132-0B6C13973CF0}" dt="2023-12-28T20:14:31" v="234"/>
          <ac:cxnSpMkLst>
            <pc:docMk/>
            <pc:sldMk cId="1323624667" sldId="760"/>
            <ac:cxnSpMk id="13" creationId="{AA2EAA10-076F-46BD-8F0F-B9A2FB77A85C}"/>
          </ac:cxnSpMkLst>
        </pc:cxnChg>
        <pc:cxnChg chg="add">
          <ac:chgData name="Alana Rivera" userId="S::arg3669@ads.northwestern.edu::fc8b707a-b7e9-4f2a-8d71-2d76819b7881" providerId="AD" clId="Web-{3E81E0CF-E582-4D57-5132-0B6C13973CF0}" dt="2023-12-28T20:14:31" v="234"/>
          <ac:cxnSpMkLst>
            <pc:docMk/>
            <pc:sldMk cId="1323624667" sldId="760"/>
            <ac:cxnSpMk id="15" creationId="{D891E407-403B-4764-86C9-33A56D3BCAA3}"/>
          </ac:cxnSpMkLst>
        </pc:cxnChg>
      </pc:sldChg>
      <pc:sldChg chg="add">
        <pc:chgData name="Alana Rivera" userId="S::arg3669@ads.northwestern.edu::fc8b707a-b7e9-4f2a-8d71-2d76819b7881" providerId="AD" clId="Web-{3E81E0CF-E582-4D57-5132-0B6C13973CF0}" dt="2023-12-28T20:17:02.068" v="243"/>
        <pc:sldMkLst>
          <pc:docMk/>
          <pc:sldMk cId="2330609099" sldId="761"/>
        </pc:sldMkLst>
      </pc:sldChg>
      <pc:sldChg chg="new del">
        <pc:chgData name="Alana Rivera" userId="S::arg3669@ads.northwestern.edu::fc8b707a-b7e9-4f2a-8d71-2d76819b7881" providerId="AD" clId="Web-{3E81E0CF-E582-4D57-5132-0B6C13973CF0}" dt="2023-12-28T20:16:14.519" v="238"/>
        <pc:sldMkLst>
          <pc:docMk/>
          <pc:sldMk cId="3042060521" sldId="761"/>
        </pc:sldMkLst>
      </pc:sldChg>
      <pc:sldChg chg="add">
        <pc:chgData name="Alana Rivera" userId="S::arg3669@ads.northwestern.edu::fc8b707a-b7e9-4f2a-8d71-2d76819b7881" providerId="AD" clId="Web-{3E81E0CF-E582-4D57-5132-0B6C13973CF0}" dt="2023-12-28T20:17:02.896" v="244"/>
        <pc:sldMkLst>
          <pc:docMk/>
          <pc:sldMk cId="3026235474" sldId="762"/>
        </pc:sldMkLst>
      </pc:sldChg>
      <pc:sldChg chg="add">
        <pc:chgData name="Alana Rivera" userId="S::arg3669@ads.northwestern.edu::fc8b707a-b7e9-4f2a-8d71-2d76819b7881" providerId="AD" clId="Web-{3E81E0CF-E582-4D57-5132-0B6C13973CF0}" dt="2023-12-28T20:17:03.115" v="245"/>
        <pc:sldMkLst>
          <pc:docMk/>
          <pc:sldMk cId="2525321083" sldId="763"/>
        </pc:sldMkLst>
      </pc:sldChg>
      <pc:sldChg chg="modSp new">
        <pc:chgData name="Alana Rivera" userId="S::arg3669@ads.northwestern.edu::fc8b707a-b7e9-4f2a-8d71-2d76819b7881" providerId="AD" clId="Web-{3E81E0CF-E582-4D57-5132-0B6C13973CF0}" dt="2023-12-28T20:21:57.999" v="256" actId="20577"/>
        <pc:sldMkLst>
          <pc:docMk/>
          <pc:sldMk cId="2167430157" sldId="764"/>
        </pc:sldMkLst>
        <pc:spChg chg="mod">
          <ac:chgData name="Alana Rivera" userId="S::arg3669@ads.northwestern.edu::fc8b707a-b7e9-4f2a-8d71-2d76819b7881" providerId="AD" clId="Web-{3E81E0CF-E582-4D57-5132-0B6C13973CF0}" dt="2023-12-28T20:21:41.514" v="250" actId="20577"/>
          <ac:spMkLst>
            <pc:docMk/>
            <pc:sldMk cId="2167430157" sldId="764"/>
            <ac:spMk id="2" creationId="{EC75C14F-AA3C-B9BE-0989-FEECE572D86A}"/>
          </ac:spMkLst>
        </pc:spChg>
        <pc:spChg chg="mod">
          <ac:chgData name="Alana Rivera" userId="S::arg3669@ads.northwestern.edu::fc8b707a-b7e9-4f2a-8d71-2d76819b7881" providerId="AD" clId="Web-{3E81E0CF-E582-4D57-5132-0B6C13973CF0}" dt="2023-12-28T20:21:57.999" v="256" actId="20577"/>
          <ac:spMkLst>
            <pc:docMk/>
            <pc:sldMk cId="2167430157" sldId="764"/>
            <ac:spMk id="3" creationId="{12ACB78F-3701-7C49-79A9-4579063957CD}"/>
          </ac:spMkLst>
        </pc:spChg>
      </pc:sldChg>
      <pc:sldChg chg="addSp delSp modSp new mod setBg">
        <pc:chgData name="Alana Rivera" userId="S::arg3669@ads.northwestern.edu::fc8b707a-b7e9-4f2a-8d71-2d76819b7881" providerId="AD" clId="Web-{3E81E0CF-E582-4D57-5132-0B6C13973CF0}" dt="2023-12-28T20:29:04.467" v="296"/>
        <pc:sldMkLst>
          <pc:docMk/>
          <pc:sldMk cId="1261886849" sldId="765"/>
        </pc:sldMkLst>
        <pc:spChg chg="mod">
          <ac:chgData name="Alana Rivera" userId="S::arg3669@ads.northwestern.edu::fc8b707a-b7e9-4f2a-8d71-2d76819b7881" providerId="AD" clId="Web-{3E81E0CF-E582-4D57-5132-0B6C13973CF0}" dt="2023-12-28T20:29:04.467" v="296"/>
          <ac:spMkLst>
            <pc:docMk/>
            <pc:sldMk cId="1261886849" sldId="765"/>
            <ac:spMk id="2" creationId="{49FE7D1D-AAD9-96C4-449C-05CDE1CB8665}"/>
          </ac:spMkLst>
        </pc:spChg>
        <pc:spChg chg="del">
          <ac:chgData name="Alana Rivera" userId="S::arg3669@ads.northwestern.edu::fc8b707a-b7e9-4f2a-8d71-2d76819b7881" providerId="AD" clId="Web-{3E81E0CF-E582-4D57-5132-0B6C13973CF0}" dt="2023-12-28T20:27:24.354" v="283"/>
          <ac:spMkLst>
            <pc:docMk/>
            <pc:sldMk cId="1261886849" sldId="765"/>
            <ac:spMk id="3" creationId="{7B21536B-5113-4FE3-28FF-B05560E9DD26}"/>
          </ac:spMkLst>
        </pc:spChg>
        <pc:spChg chg="mod ord">
          <ac:chgData name="Alana Rivera" userId="S::arg3669@ads.northwestern.edu::fc8b707a-b7e9-4f2a-8d71-2d76819b7881" providerId="AD" clId="Web-{3E81E0CF-E582-4D57-5132-0B6C13973CF0}" dt="2023-12-28T20:27:50.949" v="284"/>
          <ac:spMkLst>
            <pc:docMk/>
            <pc:sldMk cId="1261886849" sldId="765"/>
            <ac:spMk id="4" creationId="{73E73FB8-71B1-7DC6-D8C4-8F321B89D124}"/>
          </ac:spMkLst>
        </pc:spChg>
        <pc:spChg chg="mod">
          <ac:chgData name="Alana Rivera" userId="S::arg3669@ads.northwestern.edu::fc8b707a-b7e9-4f2a-8d71-2d76819b7881" providerId="AD" clId="Web-{3E81E0CF-E582-4D57-5132-0B6C13973CF0}" dt="2023-12-28T20:27:50.949" v="284"/>
          <ac:spMkLst>
            <pc:docMk/>
            <pc:sldMk cId="1261886849" sldId="765"/>
            <ac:spMk id="5" creationId="{0B73D8D2-C2DB-C39B-F46F-37D6415F0A05}"/>
          </ac:spMkLst>
        </pc:spChg>
        <pc:spChg chg="add mod">
          <ac:chgData name="Alana Rivera" userId="S::arg3669@ads.northwestern.edu::fc8b707a-b7e9-4f2a-8d71-2d76819b7881" providerId="AD" clId="Web-{3E81E0CF-E582-4D57-5132-0B6C13973CF0}" dt="2023-12-28T20:28:19.590" v="290"/>
          <ac:spMkLst>
            <pc:docMk/>
            <pc:sldMk cId="1261886849" sldId="765"/>
            <ac:spMk id="7" creationId="{8244CB38-9DB6-FCBC-AA67-A8F3AD7D5689}"/>
          </ac:spMkLst>
        </pc:spChg>
        <pc:spChg chg="add">
          <ac:chgData name="Alana Rivera" userId="S::arg3669@ads.northwestern.edu::fc8b707a-b7e9-4f2a-8d71-2d76819b7881" providerId="AD" clId="Web-{3E81E0CF-E582-4D57-5132-0B6C13973CF0}" dt="2023-12-28T20:27:50.949" v="284"/>
          <ac:spMkLst>
            <pc:docMk/>
            <pc:sldMk cId="1261886849" sldId="765"/>
            <ac:spMk id="11" creationId="{6753252F-4873-4F63-801D-CC719279A7D5}"/>
          </ac:spMkLst>
        </pc:spChg>
        <pc:spChg chg="add">
          <ac:chgData name="Alana Rivera" userId="S::arg3669@ads.northwestern.edu::fc8b707a-b7e9-4f2a-8d71-2d76819b7881" providerId="AD" clId="Web-{3E81E0CF-E582-4D57-5132-0B6C13973CF0}" dt="2023-12-28T20:27:50.949" v="284"/>
          <ac:spMkLst>
            <pc:docMk/>
            <pc:sldMk cId="1261886849" sldId="765"/>
            <ac:spMk id="13" creationId="{047C8CCB-F95D-4249-92DD-651249D3535A}"/>
          </ac:spMkLst>
        </pc:spChg>
        <pc:picChg chg="add mod ord">
          <ac:chgData name="Alana Rivera" userId="S::arg3669@ads.northwestern.edu::fc8b707a-b7e9-4f2a-8d71-2d76819b7881" providerId="AD" clId="Web-{3E81E0CF-E582-4D57-5132-0B6C13973CF0}" dt="2023-12-28T20:28:02.918" v="287" actId="14100"/>
          <ac:picMkLst>
            <pc:docMk/>
            <pc:sldMk cId="1261886849" sldId="765"/>
            <ac:picMk id="6" creationId="{3D5FF0C6-9AD5-88AB-36AB-15CCD15D0DC1}"/>
          </ac:picMkLst>
        </pc:picChg>
      </pc:sldChg>
      <pc:sldChg chg="modSp add">
        <pc:chgData name="Alana Rivera" userId="S::arg3669@ads.northwestern.edu::fc8b707a-b7e9-4f2a-8d71-2d76819b7881" providerId="AD" clId="Web-{3E81E0CF-E582-4D57-5132-0B6C13973CF0}" dt="2023-12-28T20:44:19.684" v="370"/>
        <pc:sldMkLst>
          <pc:docMk/>
          <pc:sldMk cId="2730238647" sldId="766"/>
        </pc:sldMkLst>
        <pc:spChg chg="mod">
          <ac:chgData name="Alana Rivera" userId="S::arg3669@ads.northwestern.edu::fc8b707a-b7e9-4f2a-8d71-2d76819b7881" providerId="AD" clId="Web-{3E81E0CF-E582-4D57-5132-0B6C13973CF0}" dt="2023-12-28T20:44:19.684" v="370"/>
          <ac:spMkLst>
            <pc:docMk/>
            <pc:sldMk cId="2730238647" sldId="766"/>
            <ac:spMk id="2" creationId="{00000000-0000-0000-0000-000000000000}"/>
          </ac:spMkLst>
        </pc:spChg>
      </pc:sldChg>
      <pc:sldChg chg="modSp add">
        <pc:chgData name="Alana Rivera" userId="S::arg3669@ads.northwestern.edu::fc8b707a-b7e9-4f2a-8d71-2d76819b7881" providerId="AD" clId="Web-{3E81E0CF-E582-4D57-5132-0B6C13973CF0}" dt="2023-12-28T20:44:24.091" v="371"/>
        <pc:sldMkLst>
          <pc:docMk/>
          <pc:sldMk cId="1177085520" sldId="767"/>
        </pc:sldMkLst>
        <pc:spChg chg="mod">
          <ac:chgData name="Alana Rivera" userId="S::arg3669@ads.northwestern.edu::fc8b707a-b7e9-4f2a-8d71-2d76819b7881" providerId="AD" clId="Web-{3E81E0CF-E582-4D57-5132-0B6C13973CF0}" dt="2023-12-28T20:44:24.091" v="371"/>
          <ac:spMkLst>
            <pc:docMk/>
            <pc:sldMk cId="1177085520" sldId="767"/>
            <ac:spMk id="2" creationId="{00000000-0000-0000-0000-000000000000}"/>
          </ac:spMkLst>
        </pc:spChg>
      </pc:sldChg>
      <pc:sldChg chg="modSp add">
        <pc:chgData name="Alana Rivera" userId="S::arg3669@ads.northwestern.edu::fc8b707a-b7e9-4f2a-8d71-2d76819b7881" providerId="AD" clId="Web-{3E81E0CF-E582-4D57-5132-0B6C13973CF0}" dt="2023-12-28T20:44:28.044" v="372"/>
        <pc:sldMkLst>
          <pc:docMk/>
          <pc:sldMk cId="1549218491" sldId="768"/>
        </pc:sldMkLst>
        <pc:spChg chg="mod">
          <ac:chgData name="Alana Rivera" userId="S::arg3669@ads.northwestern.edu::fc8b707a-b7e9-4f2a-8d71-2d76819b7881" providerId="AD" clId="Web-{3E81E0CF-E582-4D57-5132-0B6C13973CF0}" dt="2023-12-28T20:44:28.044" v="372"/>
          <ac:spMkLst>
            <pc:docMk/>
            <pc:sldMk cId="1549218491" sldId="768"/>
            <ac:spMk id="2" creationId="{00000000-0000-0000-0000-000000000000}"/>
          </ac:spMkLst>
        </pc:spChg>
      </pc:sldChg>
      <pc:sldChg chg="modSp add">
        <pc:chgData name="Alana Rivera" userId="S::arg3669@ads.northwestern.edu::fc8b707a-b7e9-4f2a-8d71-2d76819b7881" providerId="AD" clId="Web-{3E81E0CF-E582-4D57-5132-0B6C13973CF0}" dt="2023-12-28T20:44:33.841" v="373"/>
        <pc:sldMkLst>
          <pc:docMk/>
          <pc:sldMk cId="4074859317" sldId="769"/>
        </pc:sldMkLst>
        <pc:spChg chg="mod">
          <ac:chgData name="Alana Rivera" userId="S::arg3669@ads.northwestern.edu::fc8b707a-b7e9-4f2a-8d71-2d76819b7881" providerId="AD" clId="Web-{3E81E0CF-E582-4D57-5132-0B6C13973CF0}" dt="2023-12-28T20:44:33.841" v="373"/>
          <ac:spMkLst>
            <pc:docMk/>
            <pc:sldMk cId="4074859317" sldId="769"/>
            <ac:spMk id="2" creationId="{00000000-0000-0000-0000-000000000000}"/>
          </ac:spMkLst>
        </pc:spChg>
      </pc:sldChg>
      <pc:sldChg chg="modSp add">
        <pc:chgData name="Alana Rivera" userId="S::arg3669@ads.northwestern.edu::fc8b707a-b7e9-4f2a-8d71-2d76819b7881" providerId="AD" clId="Web-{3E81E0CF-E582-4D57-5132-0B6C13973CF0}" dt="2023-12-28T20:44:38.591" v="374"/>
        <pc:sldMkLst>
          <pc:docMk/>
          <pc:sldMk cId="3174384986" sldId="770"/>
        </pc:sldMkLst>
        <pc:spChg chg="mod">
          <ac:chgData name="Alana Rivera" userId="S::arg3669@ads.northwestern.edu::fc8b707a-b7e9-4f2a-8d71-2d76819b7881" providerId="AD" clId="Web-{3E81E0CF-E582-4D57-5132-0B6C13973CF0}" dt="2023-12-28T20:44:38.591" v="374"/>
          <ac:spMkLst>
            <pc:docMk/>
            <pc:sldMk cId="3174384986" sldId="770"/>
            <ac:spMk id="2" creationId="{00000000-0000-0000-0000-000000000000}"/>
          </ac:spMkLst>
        </pc:spChg>
      </pc:sldChg>
      <pc:sldChg chg="modSp add">
        <pc:chgData name="Alana Rivera" userId="S::arg3669@ads.northwestern.edu::fc8b707a-b7e9-4f2a-8d71-2d76819b7881" providerId="AD" clId="Web-{3E81E0CF-E582-4D57-5132-0B6C13973CF0}" dt="2023-12-28T20:44:46.826" v="375"/>
        <pc:sldMkLst>
          <pc:docMk/>
          <pc:sldMk cId="661046635" sldId="771"/>
        </pc:sldMkLst>
        <pc:spChg chg="mod">
          <ac:chgData name="Alana Rivera" userId="S::arg3669@ads.northwestern.edu::fc8b707a-b7e9-4f2a-8d71-2d76819b7881" providerId="AD" clId="Web-{3E81E0CF-E582-4D57-5132-0B6C13973CF0}" dt="2023-12-28T20:44:46.826" v="375"/>
          <ac:spMkLst>
            <pc:docMk/>
            <pc:sldMk cId="661046635" sldId="771"/>
            <ac:spMk id="2" creationId="{00000000-0000-0000-0000-000000000000}"/>
          </ac:spMkLst>
        </pc:spChg>
      </pc:sldChg>
    </pc:docChg>
  </pc:docChgLst>
  <pc:docChgLst>
    <pc:chgData name="Alana Rivera" userId="S::arg3669@ads.northwestern.edu::fc8b707a-b7e9-4f2a-8d71-2d76819b7881" providerId="AD" clId="Web-{EEF5ACAF-3680-7262-A628-DF1FDA3B77FA}"/>
    <pc:docChg chg="modSld">
      <pc:chgData name="Alana Rivera" userId="S::arg3669@ads.northwestern.edu::fc8b707a-b7e9-4f2a-8d71-2d76819b7881" providerId="AD" clId="Web-{EEF5ACAF-3680-7262-A628-DF1FDA3B77FA}" dt="2023-12-11T13:04:46.745" v="3"/>
      <pc:docMkLst>
        <pc:docMk/>
      </pc:docMkLst>
      <pc:sldChg chg="delSp modSp">
        <pc:chgData name="Alana Rivera" userId="S::arg3669@ads.northwestern.edu::fc8b707a-b7e9-4f2a-8d71-2d76819b7881" providerId="AD" clId="Web-{EEF5ACAF-3680-7262-A628-DF1FDA3B77FA}" dt="2023-12-11T13:04:46.745" v="3"/>
        <pc:sldMkLst>
          <pc:docMk/>
          <pc:sldMk cId="3573947264" sldId="584"/>
        </pc:sldMkLst>
        <pc:spChg chg="del">
          <ac:chgData name="Alana Rivera" userId="S::arg3669@ads.northwestern.edu::fc8b707a-b7e9-4f2a-8d71-2d76819b7881" providerId="AD" clId="Web-{EEF5ACAF-3680-7262-A628-DF1FDA3B77FA}" dt="2023-12-11T13:04:46.745" v="3"/>
          <ac:spMkLst>
            <pc:docMk/>
            <pc:sldMk cId="3573947264" sldId="584"/>
            <ac:spMk id="5" creationId="{AE74FBFB-1843-9ED4-705E-449C6A1AC847}"/>
          </ac:spMkLst>
        </pc:spChg>
        <pc:spChg chg="mod">
          <ac:chgData name="Alana Rivera" userId="S::arg3669@ads.northwestern.edu::fc8b707a-b7e9-4f2a-8d71-2d76819b7881" providerId="AD" clId="Web-{EEF5ACAF-3680-7262-A628-DF1FDA3B77FA}" dt="2023-12-11T13:04:25.526" v="1" actId="20577"/>
          <ac:spMkLst>
            <pc:docMk/>
            <pc:sldMk cId="3573947264" sldId="584"/>
            <ac:spMk id="34" creationId="{CB726A25-CFF2-A633-BB75-01000B742058}"/>
          </ac:spMkLst>
        </pc:spChg>
        <pc:spChg chg="mod">
          <ac:chgData name="Alana Rivera" userId="S::arg3669@ads.northwestern.edu::fc8b707a-b7e9-4f2a-8d71-2d76819b7881" providerId="AD" clId="Web-{EEF5ACAF-3680-7262-A628-DF1FDA3B77FA}" dt="2023-12-11T13:04:36.166" v="2" actId="20577"/>
          <ac:spMkLst>
            <pc:docMk/>
            <pc:sldMk cId="3573947264" sldId="584"/>
            <ac:spMk id="42" creationId="{E9E3C6CF-96AA-68D8-0977-EC06066DAB15}"/>
          </ac:spMkLst>
        </pc:spChg>
      </pc:sldChg>
    </pc:docChg>
  </pc:docChgLst>
  <pc:docChgLst>
    <pc:chgData name="Alana Rivera" userId="S::arg3669@ads.northwestern.edu::fc8b707a-b7e9-4f2a-8d71-2d76819b7881" providerId="AD" clId="Web-{316D5976-A92B-4DA1-B7A8-34F7AEF9B15D}"/>
    <pc:docChg chg="modSld">
      <pc:chgData name="Alana Rivera" userId="S::arg3669@ads.northwestern.edu::fc8b707a-b7e9-4f2a-8d71-2d76819b7881" providerId="AD" clId="Web-{316D5976-A92B-4DA1-B7A8-34F7AEF9B15D}" dt="2023-10-25T16:12:34.060" v="3"/>
      <pc:docMkLst>
        <pc:docMk/>
      </pc:docMkLst>
      <pc:sldChg chg="modSp">
        <pc:chgData name="Alana Rivera" userId="S::arg3669@ads.northwestern.edu::fc8b707a-b7e9-4f2a-8d71-2d76819b7881" providerId="AD" clId="Web-{316D5976-A92B-4DA1-B7A8-34F7AEF9B15D}" dt="2023-10-25T16:12:34.060" v="3"/>
        <pc:sldMkLst>
          <pc:docMk/>
          <pc:sldMk cId="4044691067" sldId="283"/>
        </pc:sldMkLst>
        <pc:spChg chg="mod">
          <ac:chgData name="Alana Rivera" userId="S::arg3669@ads.northwestern.edu::fc8b707a-b7e9-4f2a-8d71-2d76819b7881" providerId="AD" clId="Web-{316D5976-A92B-4DA1-B7A8-34F7AEF9B15D}" dt="2023-10-25T16:12:34.060" v="3"/>
          <ac:spMkLst>
            <pc:docMk/>
            <pc:sldMk cId="4044691067" sldId="283"/>
            <ac:spMk id="3" creationId="{00000000-0000-0000-0000-000000000000}"/>
          </ac:spMkLst>
        </pc:spChg>
      </pc:sldChg>
    </pc:docChg>
  </pc:docChgLst>
  <pc:docChgLst>
    <pc:chgData name="Eileen Fleming Suse" userId="S::efs3844@ads.northwestern.edu::725c94ef-d051-42d7-9d33-8572765d592b" providerId="AD" clId="Web-{D1FD5983-AA3B-9DE6-CECC-8854B06948B5}"/>
    <pc:docChg chg="addSld delSld modSld">
      <pc:chgData name="Eileen Fleming Suse" userId="S::efs3844@ads.northwestern.edu::725c94ef-d051-42d7-9d33-8572765d592b" providerId="AD" clId="Web-{D1FD5983-AA3B-9DE6-CECC-8854B06948B5}" dt="2023-11-15T18:35:58.840" v="31"/>
      <pc:docMkLst>
        <pc:docMk/>
      </pc:docMkLst>
      <pc:sldChg chg="modSp">
        <pc:chgData name="Eileen Fleming Suse" userId="S::efs3844@ads.northwestern.edu::725c94ef-d051-42d7-9d33-8572765d592b" providerId="AD" clId="Web-{D1FD5983-AA3B-9DE6-CECC-8854B06948B5}" dt="2023-11-15T18:34:56.120" v="14" actId="1076"/>
        <pc:sldMkLst>
          <pc:docMk/>
          <pc:sldMk cId="3127921386" sldId="280"/>
        </pc:sldMkLst>
        <pc:spChg chg="mod">
          <ac:chgData name="Eileen Fleming Suse" userId="S::efs3844@ads.northwestern.edu::725c94ef-d051-42d7-9d33-8572765d592b" providerId="AD" clId="Web-{D1FD5983-AA3B-9DE6-CECC-8854B06948B5}" dt="2023-11-15T18:34:32.916" v="12" actId="20577"/>
          <ac:spMkLst>
            <pc:docMk/>
            <pc:sldMk cId="3127921386" sldId="280"/>
            <ac:spMk id="3" creationId="{1D742501-F937-8041-84E5-748F96AE991B}"/>
          </ac:spMkLst>
        </pc:spChg>
        <pc:spChg chg="mod">
          <ac:chgData name="Eileen Fleming Suse" userId="S::efs3844@ads.northwestern.edu::725c94ef-d051-42d7-9d33-8572765d592b" providerId="AD" clId="Web-{D1FD5983-AA3B-9DE6-CECC-8854B06948B5}" dt="2023-11-15T18:34:56.120" v="14" actId="1076"/>
          <ac:spMkLst>
            <pc:docMk/>
            <pc:sldMk cId="3127921386" sldId="280"/>
            <ac:spMk id="9" creationId="{7F20A429-9947-F447-2DF2-A5C17B5C6EC1}"/>
          </ac:spMkLst>
        </pc:spChg>
      </pc:sldChg>
      <pc:sldChg chg="delSp modSp">
        <pc:chgData name="Eileen Fleming Suse" userId="S::efs3844@ads.northwestern.edu::725c94ef-d051-42d7-9d33-8572765d592b" providerId="AD" clId="Web-{D1FD5983-AA3B-9DE6-CECC-8854B06948B5}" dt="2023-11-15T18:35:19.902" v="25"/>
        <pc:sldMkLst>
          <pc:docMk/>
          <pc:sldMk cId="4044691067" sldId="283"/>
        </pc:sldMkLst>
        <pc:spChg chg="del">
          <ac:chgData name="Eileen Fleming Suse" userId="S::efs3844@ads.northwestern.edu::725c94ef-d051-42d7-9d33-8572765d592b" providerId="AD" clId="Web-{D1FD5983-AA3B-9DE6-CECC-8854B06948B5}" dt="2023-11-15T18:35:19.902" v="25"/>
          <ac:spMkLst>
            <pc:docMk/>
            <pc:sldMk cId="4044691067" sldId="283"/>
            <ac:spMk id="2" creationId="{00000000-0000-0000-0000-000000000000}"/>
          </ac:spMkLst>
        </pc:spChg>
        <pc:spChg chg="del">
          <ac:chgData name="Eileen Fleming Suse" userId="S::efs3844@ads.northwestern.edu::725c94ef-d051-42d7-9d33-8572765d592b" providerId="AD" clId="Web-{D1FD5983-AA3B-9DE6-CECC-8854B06948B5}" dt="2023-11-15T18:35:19.855" v="24"/>
          <ac:spMkLst>
            <pc:docMk/>
            <pc:sldMk cId="4044691067" sldId="283"/>
            <ac:spMk id="3" creationId="{00000000-0000-0000-0000-000000000000}"/>
          </ac:spMkLst>
        </pc:spChg>
        <pc:spChg chg="mod">
          <ac:chgData name="Eileen Fleming Suse" userId="S::efs3844@ads.northwestern.edu::725c94ef-d051-42d7-9d33-8572765d592b" providerId="AD" clId="Web-{D1FD5983-AA3B-9DE6-CECC-8854B06948B5}" dt="2023-11-15T18:35:19.730" v="23"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D1FD5983-AA3B-9DE6-CECC-8854B06948B5}" dt="2023-11-15T18:35:58.840" v="31"/>
        <pc:sldMkLst>
          <pc:docMk/>
          <pc:sldMk cId="3004937174" sldId="565"/>
        </pc:sldMkLst>
      </pc:sldChg>
      <pc:sldChg chg="del">
        <pc:chgData name="Eileen Fleming Suse" userId="S::efs3844@ads.northwestern.edu::725c94ef-d051-42d7-9d33-8572765d592b" providerId="AD" clId="Web-{D1FD5983-AA3B-9DE6-CECC-8854B06948B5}" dt="2023-11-15T18:35:19.964" v="27"/>
        <pc:sldMkLst>
          <pc:docMk/>
          <pc:sldMk cId="1271905251" sldId="637"/>
        </pc:sldMkLst>
      </pc:sldChg>
      <pc:sldChg chg="del">
        <pc:chgData name="Eileen Fleming Suse" userId="S::efs3844@ads.northwestern.edu::725c94ef-d051-42d7-9d33-8572765d592b" providerId="AD" clId="Web-{D1FD5983-AA3B-9DE6-CECC-8854B06948B5}" dt="2023-11-15T18:35:19.933" v="26"/>
        <pc:sldMkLst>
          <pc:docMk/>
          <pc:sldMk cId="2890705621" sldId="638"/>
        </pc:sldMkLst>
      </pc:sldChg>
      <pc:sldChg chg="del">
        <pc:chgData name="Eileen Fleming Suse" userId="S::efs3844@ads.northwestern.edu::725c94ef-d051-42d7-9d33-8572765d592b" providerId="AD" clId="Web-{D1FD5983-AA3B-9DE6-CECC-8854B06948B5}" dt="2023-11-15T18:35:58.137" v="30"/>
        <pc:sldMkLst>
          <pc:docMk/>
          <pc:sldMk cId="113281680" sldId="642"/>
        </pc:sldMkLst>
      </pc:sldChg>
      <pc:sldChg chg="add">
        <pc:chgData name="Eileen Fleming Suse" userId="S::efs3844@ads.northwestern.edu::725c94ef-d051-42d7-9d33-8572765d592b" providerId="AD" clId="Web-{D1FD5983-AA3B-9DE6-CECC-8854B06948B5}" dt="2023-11-15T18:35:33.855" v="28"/>
        <pc:sldMkLst>
          <pc:docMk/>
          <pc:sldMk cId="1390938179" sldId="650"/>
        </pc:sldMkLst>
      </pc:sldChg>
      <pc:sldChg chg="add">
        <pc:chgData name="Eileen Fleming Suse" userId="S::efs3844@ads.northwestern.edu::725c94ef-d051-42d7-9d33-8572765d592b" providerId="AD" clId="Web-{D1FD5983-AA3B-9DE6-CECC-8854B06948B5}" dt="2023-11-15T18:35:34.105" v="29"/>
        <pc:sldMkLst>
          <pc:docMk/>
          <pc:sldMk cId="2353676571" sldId="651"/>
        </pc:sldMkLst>
      </pc:sldChg>
    </pc:docChg>
  </pc:docChgLst>
  <pc:docChgLst>
    <pc:chgData name="Eileen Fleming Suse" userId="S::efs3844@ads.northwestern.edu::725c94ef-d051-42d7-9d33-8572765d592b" providerId="AD" clId="Web-{0108D60B-BCCB-FC71-A764-6DA2F3D1F847}"/>
    <pc:docChg chg="addSld modSld sldOrd">
      <pc:chgData name="Eileen Fleming Suse" userId="S::efs3844@ads.northwestern.edu::725c94ef-d051-42d7-9d33-8572765d592b" providerId="AD" clId="Web-{0108D60B-BCCB-FC71-A764-6DA2F3D1F847}" dt="2024-01-08T20:28:16.880" v="803" actId="20577"/>
      <pc:docMkLst>
        <pc:docMk/>
      </pc:docMkLst>
      <pc:sldChg chg="modSp">
        <pc:chgData name="Eileen Fleming Suse" userId="S::efs3844@ads.northwestern.edu::725c94ef-d051-42d7-9d33-8572765d592b" providerId="AD" clId="Web-{0108D60B-BCCB-FC71-A764-6DA2F3D1F847}" dt="2024-01-08T20:25:26.033" v="799"/>
        <pc:sldMkLst>
          <pc:docMk/>
          <pc:sldMk cId="756675242" sldId="759"/>
        </pc:sldMkLst>
        <pc:spChg chg="mod">
          <ac:chgData name="Eileen Fleming Suse" userId="S::efs3844@ads.northwestern.edu::725c94ef-d051-42d7-9d33-8572765d592b" providerId="AD" clId="Web-{0108D60B-BCCB-FC71-A764-6DA2F3D1F847}" dt="2024-01-08T20:25:26.033" v="799"/>
          <ac:spMkLst>
            <pc:docMk/>
            <pc:sldMk cId="756675242" sldId="759"/>
            <ac:spMk id="2" creationId="{6659FA61-332B-9147-CBEF-669C83839D2A}"/>
          </ac:spMkLst>
        </pc:spChg>
      </pc:sldChg>
      <pc:sldChg chg="delSp modSp">
        <pc:chgData name="Eileen Fleming Suse" userId="S::efs3844@ads.northwestern.edu::725c94ef-d051-42d7-9d33-8572765d592b" providerId="AD" clId="Web-{0108D60B-BCCB-FC71-A764-6DA2F3D1F847}" dt="2024-01-08T19:59:06.794" v="751"/>
        <pc:sldMkLst>
          <pc:docMk/>
          <pc:sldMk cId="2730238647" sldId="766"/>
        </pc:sldMkLst>
        <pc:spChg chg="mod">
          <ac:chgData name="Eileen Fleming Suse" userId="S::efs3844@ads.northwestern.edu::725c94ef-d051-42d7-9d33-8572765d592b" providerId="AD" clId="Web-{0108D60B-BCCB-FC71-A764-6DA2F3D1F847}" dt="2024-01-08T19:59:06.794" v="751"/>
          <ac:spMkLst>
            <pc:docMk/>
            <pc:sldMk cId="2730238647" sldId="766"/>
            <ac:spMk id="2" creationId="{00000000-0000-0000-0000-000000000000}"/>
          </ac:spMkLst>
        </pc:spChg>
        <pc:graphicFrameChg chg="mod modGraphic">
          <ac:chgData name="Eileen Fleming Suse" userId="S::efs3844@ads.northwestern.edu::725c94ef-d051-42d7-9d33-8572765d592b" providerId="AD" clId="Web-{0108D60B-BCCB-FC71-A764-6DA2F3D1F847}" dt="2024-01-08T19:59:01.934" v="750" actId="1076"/>
          <ac:graphicFrameMkLst>
            <pc:docMk/>
            <pc:sldMk cId="2730238647" sldId="766"/>
            <ac:graphicFrameMk id="7" creationId="{00000000-0000-0000-0000-000000000000}"/>
          </ac:graphicFrameMkLst>
        </pc:graphicFrameChg>
        <pc:graphicFrameChg chg="del mod modGraphic">
          <ac:chgData name="Eileen Fleming Suse" userId="S::efs3844@ads.northwestern.edu::725c94ef-d051-42d7-9d33-8572765d592b" providerId="AD" clId="Web-{0108D60B-BCCB-FC71-A764-6DA2F3D1F847}" dt="2024-01-08T19:58:23.230" v="716"/>
          <ac:graphicFrameMkLst>
            <pc:docMk/>
            <pc:sldMk cId="2730238647" sldId="766"/>
            <ac:graphicFrameMk id="8" creationId="{00000000-0000-0000-0000-000000000000}"/>
          </ac:graphicFrameMkLst>
        </pc:graphicFrameChg>
      </pc:sldChg>
      <pc:sldChg chg="delSp modSp">
        <pc:chgData name="Eileen Fleming Suse" userId="S::efs3844@ads.northwestern.edu::725c94ef-d051-42d7-9d33-8572765d592b" providerId="AD" clId="Web-{0108D60B-BCCB-FC71-A764-6DA2F3D1F847}" dt="2024-01-08T19:56:29.711" v="629"/>
        <pc:sldMkLst>
          <pc:docMk/>
          <pc:sldMk cId="1177085520" sldId="767"/>
        </pc:sldMkLst>
        <pc:spChg chg="mod">
          <ac:chgData name="Eileen Fleming Suse" userId="S::efs3844@ads.northwestern.edu::725c94ef-d051-42d7-9d33-8572765d592b" providerId="AD" clId="Web-{0108D60B-BCCB-FC71-A764-6DA2F3D1F847}" dt="2024-01-08T19:56:04.944" v="603"/>
          <ac:spMkLst>
            <pc:docMk/>
            <pc:sldMk cId="1177085520" sldId="767"/>
            <ac:spMk id="2" creationId="{00000000-0000-0000-0000-000000000000}"/>
          </ac:spMkLst>
        </pc:spChg>
        <pc:graphicFrameChg chg="mod modGraphic">
          <ac:chgData name="Eileen Fleming Suse" userId="S::efs3844@ads.northwestern.edu::725c94ef-d051-42d7-9d33-8572765d592b" providerId="AD" clId="Web-{0108D60B-BCCB-FC71-A764-6DA2F3D1F847}" dt="2024-01-08T19:56:29.711" v="629"/>
          <ac:graphicFrameMkLst>
            <pc:docMk/>
            <pc:sldMk cId="1177085520" sldId="767"/>
            <ac:graphicFrameMk id="6" creationId="{00000000-0000-0000-0000-000000000000}"/>
          </ac:graphicFrameMkLst>
        </pc:graphicFrameChg>
        <pc:graphicFrameChg chg="del">
          <ac:chgData name="Eileen Fleming Suse" userId="S::efs3844@ads.northwestern.edu::725c94ef-d051-42d7-9d33-8572765d592b" providerId="AD" clId="Web-{0108D60B-BCCB-FC71-A764-6DA2F3D1F847}" dt="2024-01-08T19:49:34.682" v="478"/>
          <ac:graphicFrameMkLst>
            <pc:docMk/>
            <pc:sldMk cId="1177085520" sldId="767"/>
            <ac:graphicFrameMk id="7" creationId="{00000000-0000-0000-0000-000000000000}"/>
          </ac:graphicFrameMkLst>
        </pc:graphicFrameChg>
      </pc:sldChg>
      <pc:sldChg chg="modSp">
        <pc:chgData name="Eileen Fleming Suse" userId="S::efs3844@ads.northwestern.edu::725c94ef-d051-42d7-9d33-8572765d592b" providerId="AD" clId="Web-{0108D60B-BCCB-FC71-A764-6DA2F3D1F847}" dt="2024-01-08T20:24:57.673" v="798" actId="20577"/>
        <pc:sldMkLst>
          <pc:docMk/>
          <pc:sldMk cId="1549218491" sldId="768"/>
        </pc:sldMkLst>
        <pc:spChg chg="mod">
          <ac:chgData name="Eileen Fleming Suse" userId="S::efs3844@ads.northwestern.edu::725c94ef-d051-42d7-9d33-8572765d592b" providerId="AD" clId="Web-{0108D60B-BCCB-FC71-A764-6DA2F3D1F847}" dt="2024-01-08T19:46:56.756" v="427" actId="1076"/>
          <ac:spMkLst>
            <pc:docMk/>
            <pc:sldMk cId="1549218491" sldId="768"/>
            <ac:spMk id="2" creationId="{00000000-0000-0000-0000-000000000000}"/>
          </ac:spMkLst>
        </pc:spChg>
        <pc:spChg chg="mod">
          <ac:chgData name="Eileen Fleming Suse" userId="S::efs3844@ads.northwestern.edu::725c94ef-d051-42d7-9d33-8572765d592b" providerId="AD" clId="Web-{0108D60B-BCCB-FC71-A764-6DA2F3D1F847}" dt="2024-01-08T20:24:57.673" v="798" actId="20577"/>
          <ac:spMkLst>
            <pc:docMk/>
            <pc:sldMk cId="1549218491" sldId="768"/>
            <ac:spMk id="10" creationId="{00000000-0000-0000-0000-000000000000}"/>
          </ac:spMkLst>
        </pc:spChg>
      </pc:sldChg>
      <pc:sldChg chg="modSp">
        <pc:chgData name="Eileen Fleming Suse" userId="S::efs3844@ads.northwestern.edu::725c94ef-d051-42d7-9d33-8572765d592b" providerId="AD" clId="Web-{0108D60B-BCCB-FC71-A764-6DA2F3D1F847}" dt="2024-01-08T19:24:16.389" v="326"/>
        <pc:sldMkLst>
          <pc:docMk/>
          <pc:sldMk cId="4074859317" sldId="769"/>
        </pc:sldMkLst>
        <pc:spChg chg="mod">
          <ac:chgData name="Eileen Fleming Suse" userId="S::efs3844@ads.northwestern.edu::725c94ef-d051-42d7-9d33-8572765d592b" providerId="AD" clId="Web-{0108D60B-BCCB-FC71-A764-6DA2F3D1F847}" dt="2024-01-08T19:24:16.389" v="326"/>
          <ac:spMkLst>
            <pc:docMk/>
            <pc:sldMk cId="4074859317" sldId="769"/>
            <ac:spMk id="2" creationId="{00000000-0000-0000-0000-000000000000}"/>
          </ac:spMkLst>
        </pc:spChg>
      </pc:sldChg>
      <pc:sldChg chg="addSp delSp modSp">
        <pc:chgData name="Eileen Fleming Suse" userId="S::efs3844@ads.northwestern.edu::725c94ef-d051-42d7-9d33-8572765d592b" providerId="AD" clId="Web-{0108D60B-BCCB-FC71-A764-6DA2F3D1F847}" dt="2024-01-05T17:56:43.456" v="192" actId="20577"/>
        <pc:sldMkLst>
          <pc:docMk/>
          <pc:sldMk cId="3174384986" sldId="770"/>
        </pc:sldMkLst>
        <pc:spChg chg="add del mod">
          <ac:chgData name="Eileen Fleming Suse" userId="S::efs3844@ads.northwestern.edu::725c94ef-d051-42d7-9d33-8572765d592b" providerId="AD" clId="Web-{0108D60B-BCCB-FC71-A764-6DA2F3D1F847}" dt="2024-01-05T17:56:13.081" v="190"/>
          <ac:spMkLst>
            <pc:docMk/>
            <pc:sldMk cId="3174384986" sldId="770"/>
            <ac:spMk id="3" creationId="{EEFA7588-381F-3DB0-261E-1A7B024CDF63}"/>
          </ac:spMkLst>
        </pc:spChg>
        <pc:spChg chg="mod">
          <ac:chgData name="Eileen Fleming Suse" userId="S::efs3844@ads.northwestern.edu::725c94ef-d051-42d7-9d33-8572765d592b" providerId="AD" clId="Web-{0108D60B-BCCB-FC71-A764-6DA2F3D1F847}" dt="2024-01-05T17:56:43.456" v="192" actId="20577"/>
          <ac:spMkLst>
            <pc:docMk/>
            <pc:sldMk cId="3174384986" sldId="770"/>
            <ac:spMk id="8" creationId="{00000000-0000-0000-0000-000000000000}"/>
          </ac:spMkLst>
        </pc:spChg>
      </pc:sldChg>
      <pc:sldChg chg="modSp">
        <pc:chgData name="Eileen Fleming Suse" userId="S::efs3844@ads.northwestern.edu::725c94ef-d051-42d7-9d33-8572765d592b" providerId="AD" clId="Web-{0108D60B-BCCB-FC71-A764-6DA2F3D1F847}" dt="2024-01-05T17:53:58.849" v="136" actId="20577"/>
        <pc:sldMkLst>
          <pc:docMk/>
          <pc:sldMk cId="661046635" sldId="771"/>
        </pc:sldMkLst>
        <pc:spChg chg="mod">
          <ac:chgData name="Eileen Fleming Suse" userId="S::efs3844@ads.northwestern.edu::725c94ef-d051-42d7-9d33-8572765d592b" providerId="AD" clId="Web-{0108D60B-BCCB-FC71-A764-6DA2F3D1F847}" dt="2024-01-05T17:53:58.849" v="136" actId="20577"/>
          <ac:spMkLst>
            <pc:docMk/>
            <pc:sldMk cId="661046635" sldId="771"/>
            <ac:spMk id="8" creationId="{00000000-0000-0000-0000-000000000000}"/>
          </ac:spMkLst>
        </pc:spChg>
      </pc:sldChg>
      <pc:sldChg chg="modSp new">
        <pc:chgData name="Eileen Fleming Suse" userId="S::efs3844@ads.northwestern.edu::725c94ef-d051-42d7-9d33-8572765d592b" providerId="AD" clId="Web-{0108D60B-BCCB-FC71-A764-6DA2F3D1F847}" dt="2024-01-04T21:31:50.944" v="2" actId="20577"/>
        <pc:sldMkLst>
          <pc:docMk/>
          <pc:sldMk cId="1961791320" sldId="772"/>
        </pc:sldMkLst>
        <pc:spChg chg="mod">
          <ac:chgData name="Eileen Fleming Suse" userId="S::efs3844@ads.northwestern.edu::725c94ef-d051-42d7-9d33-8572765d592b" providerId="AD" clId="Web-{0108D60B-BCCB-FC71-A764-6DA2F3D1F847}" dt="2024-01-04T21:31:50.944" v="2" actId="20577"/>
          <ac:spMkLst>
            <pc:docMk/>
            <pc:sldMk cId="1961791320" sldId="772"/>
            <ac:spMk id="2" creationId="{0225100F-420D-CB68-2575-2DC3BEBF4CB0}"/>
          </ac:spMkLst>
        </pc:spChg>
      </pc:sldChg>
      <pc:sldChg chg="modSp new">
        <pc:chgData name="Eileen Fleming Suse" userId="S::efs3844@ads.northwestern.edu::725c94ef-d051-42d7-9d33-8572765d592b" providerId="AD" clId="Web-{0108D60B-BCCB-FC71-A764-6DA2F3D1F847}" dt="2024-01-04T21:32:42.056" v="9" actId="20577"/>
        <pc:sldMkLst>
          <pc:docMk/>
          <pc:sldMk cId="3462412353" sldId="773"/>
        </pc:sldMkLst>
        <pc:spChg chg="mod">
          <ac:chgData name="Eileen Fleming Suse" userId="S::efs3844@ads.northwestern.edu::725c94ef-d051-42d7-9d33-8572765d592b" providerId="AD" clId="Web-{0108D60B-BCCB-FC71-A764-6DA2F3D1F847}" dt="2024-01-04T21:32:42.056" v="9" actId="20577"/>
          <ac:spMkLst>
            <pc:docMk/>
            <pc:sldMk cId="3462412353" sldId="773"/>
            <ac:spMk id="2" creationId="{7A590FE6-A718-DB35-8361-76567E797D89}"/>
          </ac:spMkLst>
        </pc:spChg>
      </pc:sldChg>
      <pc:sldChg chg="modSp add replId">
        <pc:chgData name="Eileen Fleming Suse" userId="S::efs3844@ads.northwestern.edu::725c94ef-d051-42d7-9d33-8572765d592b" providerId="AD" clId="Web-{0108D60B-BCCB-FC71-A764-6DA2F3D1F847}" dt="2024-01-04T21:35:02.046" v="36" actId="20577"/>
        <pc:sldMkLst>
          <pc:docMk/>
          <pc:sldMk cId="4002180916" sldId="774"/>
        </pc:sldMkLst>
        <pc:spChg chg="mod">
          <ac:chgData name="Eileen Fleming Suse" userId="S::efs3844@ads.northwestern.edu::725c94ef-d051-42d7-9d33-8572765d592b" providerId="AD" clId="Web-{0108D60B-BCCB-FC71-A764-6DA2F3D1F847}" dt="2024-01-04T21:35:02.046" v="36" actId="20577"/>
          <ac:spMkLst>
            <pc:docMk/>
            <pc:sldMk cId="4002180916" sldId="774"/>
            <ac:spMk id="8" creationId="{0ED66B27-0F11-86B9-EFB0-3CA28DD48605}"/>
          </ac:spMkLst>
        </pc:spChg>
      </pc:sldChg>
      <pc:sldChg chg="modSp add ord replId">
        <pc:chgData name="Eileen Fleming Suse" userId="S::efs3844@ads.northwestern.edu::725c94ef-d051-42d7-9d33-8572765d592b" providerId="AD" clId="Web-{0108D60B-BCCB-FC71-A764-6DA2F3D1F847}" dt="2024-01-05T17:51:12.022" v="96" actId="20577"/>
        <pc:sldMkLst>
          <pc:docMk/>
          <pc:sldMk cId="2951495738" sldId="775"/>
        </pc:sldMkLst>
        <pc:spChg chg="mod">
          <ac:chgData name="Eileen Fleming Suse" userId="S::efs3844@ads.northwestern.edu::725c94ef-d051-42d7-9d33-8572765d592b" providerId="AD" clId="Web-{0108D60B-BCCB-FC71-A764-6DA2F3D1F847}" dt="2024-01-05T17:51:12.022" v="96" actId="20577"/>
          <ac:spMkLst>
            <pc:docMk/>
            <pc:sldMk cId="2951495738" sldId="775"/>
            <ac:spMk id="8" creationId="{9953D7F1-17BD-728F-97C1-5B32C8D16034}"/>
          </ac:spMkLst>
        </pc:spChg>
      </pc:sldChg>
      <pc:sldChg chg="modSp add replId">
        <pc:chgData name="Eileen Fleming Suse" userId="S::efs3844@ads.northwestern.edu::725c94ef-d051-42d7-9d33-8572765d592b" providerId="AD" clId="Web-{0108D60B-BCCB-FC71-A764-6DA2F3D1F847}" dt="2024-01-05T17:55:16.785" v="174" actId="20577"/>
        <pc:sldMkLst>
          <pc:docMk/>
          <pc:sldMk cId="2163654907" sldId="776"/>
        </pc:sldMkLst>
        <pc:spChg chg="mod">
          <ac:chgData name="Eileen Fleming Suse" userId="S::efs3844@ads.northwestern.edu::725c94ef-d051-42d7-9d33-8572765d592b" providerId="AD" clId="Web-{0108D60B-BCCB-FC71-A764-6DA2F3D1F847}" dt="2024-01-05T17:55:16.785" v="174" actId="20577"/>
          <ac:spMkLst>
            <pc:docMk/>
            <pc:sldMk cId="2163654907" sldId="776"/>
            <ac:spMk id="8" creationId="{ED1BE979-C18D-624E-E463-2C8C3A396A0B}"/>
          </ac:spMkLst>
        </pc:spChg>
      </pc:sldChg>
      <pc:sldChg chg="modSp add replId">
        <pc:chgData name="Eileen Fleming Suse" userId="S::efs3844@ads.northwestern.edu::725c94ef-d051-42d7-9d33-8572765d592b" providerId="AD" clId="Web-{0108D60B-BCCB-FC71-A764-6DA2F3D1F847}" dt="2024-01-05T17:57:10.753" v="194" actId="20577"/>
        <pc:sldMkLst>
          <pc:docMk/>
          <pc:sldMk cId="329698235" sldId="777"/>
        </pc:sldMkLst>
        <pc:spChg chg="mod">
          <ac:chgData name="Eileen Fleming Suse" userId="S::efs3844@ads.northwestern.edu::725c94ef-d051-42d7-9d33-8572765d592b" providerId="AD" clId="Web-{0108D60B-BCCB-FC71-A764-6DA2F3D1F847}" dt="2024-01-05T17:57:10.753" v="194" actId="20577"/>
          <ac:spMkLst>
            <pc:docMk/>
            <pc:sldMk cId="329698235" sldId="777"/>
            <ac:spMk id="8" creationId="{A09C94AD-2CF7-519B-2435-D0EABC3FE2E6}"/>
          </ac:spMkLst>
        </pc:spChg>
      </pc:sldChg>
      <pc:sldChg chg="add replId">
        <pc:chgData name="Eileen Fleming Suse" userId="S::efs3844@ads.northwestern.edu::725c94ef-d051-42d7-9d33-8572765d592b" providerId="AD" clId="Web-{0108D60B-BCCB-FC71-A764-6DA2F3D1F847}" dt="2024-01-05T17:57:10.909" v="195"/>
        <pc:sldMkLst>
          <pc:docMk/>
          <pc:sldMk cId="651048136" sldId="778"/>
        </pc:sldMkLst>
      </pc:sldChg>
      <pc:sldChg chg="addSp delSp modSp new">
        <pc:chgData name="Eileen Fleming Suse" userId="S::efs3844@ads.northwestern.edu::725c94ef-d051-42d7-9d33-8572765d592b" providerId="AD" clId="Web-{0108D60B-BCCB-FC71-A764-6DA2F3D1F847}" dt="2024-01-08T19:24:02.201" v="325" actId="1076"/>
        <pc:sldMkLst>
          <pc:docMk/>
          <pc:sldMk cId="3952621467" sldId="779"/>
        </pc:sldMkLst>
        <pc:spChg chg="mod">
          <ac:chgData name="Eileen Fleming Suse" userId="S::efs3844@ads.northwestern.edu::725c94ef-d051-42d7-9d33-8572765d592b" providerId="AD" clId="Web-{0108D60B-BCCB-FC71-A764-6DA2F3D1F847}" dt="2024-01-08T19:09:16.647" v="200" actId="20577"/>
          <ac:spMkLst>
            <pc:docMk/>
            <pc:sldMk cId="3952621467" sldId="779"/>
            <ac:spMk id="2" creationId="{95696CCD-346E-ACCB-3B41-54198AC298C3}"/>
          </ac:spMkLst>
        </pc:spChg>
        <pc:spChg chg="mod">
          <ac:chgData name="Eileen Fleming Suse" userId="S::efs3844@ads.northwestern.edu::725c94ef-d051-42d7-9d33-8572765d592b" providerId="AD" clId="Web-{0108D60B-BCCB-FC71-A764-6DA2F3D1F847}" dt="2024-01-08T19:22:07.729" v="279" actId="20577"/>
          <ac:spMkLst>
            <pc:docMk/>
            <pc:sldMk cId="3952621467" sldId="779"/>
            <ac:spMk id="3" creationId="{3D116CC5-783C-05ED-E59D-C20917A3F977}"/>
          </ac:spMkLst>
        </pc:spChg>
        <pc:spChg chg="add mod">
          <ac:chgData name="Eileen Fleming Suse" userId="S::efs3844@ads.northwestern.edu::725c94ef-d051-42d7-9d33-8572765d592b" providerId="AD" clId="Web-{0108D60B-BCCB-FC71-A764-6DA2F3D1F847}" dt="2024-01-08T19:23:58.419" v="324" actId="20577"/>
          <ac:spMkLst>
            <pc:docMk/>
            <pc:sldMk cId="3952621467" sldId="779"/>
            <ac:spMk id="6" creationId="{624E5E16-C2C8-3E70-D60F-7779039D5D3F}"/>
          </ac:spMkLst>
        </pc:spChg>
        <pc:spChg chg="add del">
          <ac:chgData name="Eileen Fleming Suse" userId="S::efs3844@ads.northwestern.edu::725c94ef-d051-42d7-9d33-8572765d592b" providerId="AD" clId="Web-{0108D60B-BCCB-FC71-A764-6DA2F3D1F847}" dt="2024-01-08T19:23:02.340" v="301"/>
          <ac:spMkLst>
            <pc:docMk/>
            <pc:sldMk cId="3952621467" sldId="779"/>
            <ac:spMk id="7" creationId="{E3CFFB39-76AB-57E1-9A23-C423A22668EB}"/>
          </ac:spMkLst>
        </pc:spChg>
        <pc:spChg chg="add mod">
          <ac:chgData name="Eileen Fleming Suse" userId="S::efs3844@ads.northwestern.edu::725c94ef-d051-42d7-9d33-8572765d592b" providerId="AD" clId="Web-{0108D60B-BCCB-FC71-A764-6DA2F3D1F847}" dt="2024-01-08T19:23:55.216" v="323" actId="20577"/>
          <ac:spMkLst>
            <pc:docMk/>
            <pc:sldMk cId="3952621467" sldId="779"/>
            <ac:spMk id="8" creationId="{1AC53495-722C-9B2E-6443-ACD63887CC51}"/>
          </ac:spMkLst>
        </pc:spChg>
        <pc:spChg chg="add mod">
          <ac:chgData name="Eileen Fleming Suse" userId="S::efs3844@ads.northwestern.edu::725c94ef-d051-42d7-9d33-8572765d592b" providerId="AD" clId="Web-{0108D60B-BCCB-FC71-A764-6DA2F3D1F847}" dt="2024-01-08T19:24:02.201" v="325" actId="1076"/>
          <ac:spMkLst>
            <pc:docMk/>
            <pc:sldMk cId="3952621467" sldId="779"/>
            <ac:spMk id="9" creationId="{81BF1FA0-2540-FD9B-D2A5-56A7EF7EEB4D}"/>
          </ac:spMkLst>
        </pc:spChg>
      </pc:sldChg>
      <pc:sldChg chg="addSp delSp modSp new">
        <pc:chgData name="Eileen Fleming Suse" userId="S::efs3844@ads.northwestern.edu::725c94ef-d051-42d7-9d33-8572765d592b" providerId="AD" clId="Web-{0108D60B-BCCB-FC71-A764-6DA2F3D1F847}" dt="2024-01-08T19:46:49.146" v="424" actId="14100"/>
        <pc:sldMkLst>
          <pc:docMk/>
          <pc:sldMk cId="3279958756" sldId="780"/>
        </pc:sldMkLst>
        <pc:spChg chg="mod">
          <ac:chgData name="Eileen Fleming Suse" userId="S::efs3844@ads.northwestern.edu::725c94ef-d051-42d7-9d33-8572765d592b" providerId="AD" clId="Web-{0108D60B-BCCB-FC71-A764-6DA2F3D1F847}" dt="2024-01-08T19:24:24.217" v="329" actId="20577"/>
          <ac:spMkLst>
            <pc:docMk/>
            <pc:sldMk cId="3279958756" sldId="780"/>
            <ac:spMk id="2" creationId="{F441C5CA-0913-563C-145B-0EAD56152F25}"/>
          </ac:spMkLst>
        </pc:spChg>
        <pc:spChg chg="del">
          <ac:chgData name="Eileen Fleming Suse" userId="S::efs3844@ads.northwestern.edu::725c94ef-d051-42d7-9d33-8572765d592b" providerId="AD" clId="Web-{0108D60B-BCCB-FC71-A764-6DA2F3D1F847}" dt="2024-01-08T19:42:08.794" v="330"/>
          <ac:spMkLst>
            <pc:docMk/>
            <pc:sldMk cId="3279958756" sldId="780"/>
            <ac:spMk id="3" creationId="{997A80B0-4F7C-F063-5EB2-99BA045CCC4C}"/>
          </ac:spMkLst>
        </pc:spChg>
        <pc:spChg chg="add del">
          <ac:chgData name="Eileen Fleming Suse" userId="S::efs3844@ads.northwestern.edu::725c94ef-d051-42d7-9d33-8572765d592b" providerId="AD" clId="Web-{0108D60B-BCCB-FC71-A764-6DA2F3D1F847}" dt="2024-01-08T19:42:35.951" v="333"/>
          <ac:spMkLst>
            <pc:docMk/>
            <pc:sldMk cId="3279958756" sldId="780"/>
            <ac:spMk id="7" creationId="{50E07D5B-0891-BA61-6438-DA8535C59172}"/>
          </ac:spMkLst>
        </pc:spChg>
        <pc:spChg chg="add mod">
          <ac:chgData name="Eileen Fleming Suse" userId="S::efs3844@ads.northwestern.edu::725c94ef-d051-42d7-9d33-8572765d592b" providerId="AD" clId="Web-{0108D60B-BCCB-FC71-A764-6DA2F3D1F847}" dt="2024-01-08T19:46:49.146" v="424" actId="14100"/>
          <ac:spMkLst>
            <pc:docMk/>
            <pc:sldMk cId="3279958756" sldId="780"/>
            <ac:spMk id="8" creationId="{CC4DBCEB-6265-3F16-22D2-CF9C7C016880}"/>
          </ac:spMkLst>
        </pc:spChg>
        <pc:picChg chg="add mod ord">
          <ac:chgData name="Eileen Fleming Suse" userId="S::efs3844@ads.northwestern.edu::725c94ef-d051-42d7-9d33-8572765d592b" providerId="AD" clId="Web-{0108D60B-BCCB-FC71-A764-6DA2F3D1F847}" dt="2024-01-08T19:42:26.701" v="331" actId="1076"/>
          <ac:picMkLst>
            <pc:docMk/>
            <pc:sldMk cId="3279958756" sldId="780"/>
            <ac:picMk id="6" creationId="{5D798CB4-85CD-7604-81E0-0418B591C559}"/>
          </ac:picMkLst>
        </pc:picChg>
      </pc:sldChg>
      <pc:sldChg chg="addSp delSp modSp add replId">
        <pc:chgData name="Eileen Fleming Suse" userId="S::efs3844@ads.northwestern.edu::725c94ef-d051-42d7-9d33-8572765d592b" providerId="AD" clId="Web-{0108D60B-BCCB-FC71-A764-6DA2F3D1F847}" dt="2024-01-08T20:22:27.997" v="796"/>
        <pc:sldMkLst>
          <pc:docMk/>
          <pc:sldMk cId="1760752827" sldId="781"/>
        </pc:sldMkLst>
        <pc:spChg chg="mod">
          <ac:chgData name="Eileen Fleming Suse" userId="S::efs3844@ads.northwestern.edu::725c94ef-d051-42d7-9d33-8572765d592b" providerId="AD" clId="Web-{0108D60B-BCCB-FC71-A764-6DA2F3D1F847}" dt="2024-01-08T19:58:16.230" v="713"/>
          <ac:spMkLst>
            <pc:docMk/>
            <pc:sldMk cId="1760752827" sldId="781"/>
            <ac:spMk id="2" creationId="{EE886371-EE36-A003-A359-73525F0B1B03}"/>
          </ac:spMkLst>
        </pc:spChg>
        <pc:spChg chg="add del mod">
          <ac:chgData name="Eileen Fleming Suse" userId="S::efs3844@ads.northwestern.edu::725c94ef-d051-42d7-9d33-8572765d592b" providerId="AD" clId="Web-{0108D60B-BCCB-FC71-A764-6DA2F3D1F847}" dt="2024-01-08T20:22:27.997" v="796"/>
          <ac:spMkLst>
            <pc:docMk/>
            <pc:sldMk cId="1760752827" sldId="781"/>
            <ac:spMk id="8" creationId="{5F1E0A0F-9F7E-7B4D-9BD1-08D2A0C670AA}"/>
          </ac:spMkLst>
        </pc:spChg>
        <pc:graphicFrameChg chg="del mod modGraphic">
          <ac:chgData name="Eileen Fleming Suse" userId="S::efs3844@ads.northwestern.edu::725c94ef-d051-42d7-9d33-8572765d592b" providerId="AD" clId="Web-{0108D60B-BCCB-FC71-A764-6DA2F3D1F847}" dt="2024-01-08T19:56:38.070" v="632"/>
          <ac:graphicFrameMkLst>
            <pc:docMk/>
            <pc:sldMk cId="1760752827" sldId="781"/>
            <ac:graphicFrameMk id="6" creationId="{41CF23DE-A7D2-887A-443C-ADCBF57070A3}"/>
          </ac:graphicFrameMkLst>
        </pc:graphicFrameChg>
        <pc:graphicFrameChg chg="mod modGraphic">
          <ac:chgData name="Eileen Fleming Suse" userId="S::efs3844@ads.northwestern.edu::725c94ef-d051-42d7-9d33-8572765d592b" providerId="AD" clId="Web-{0108D60B-BCCB-FC71-A764-6DA2F3D1F847}" dt="2024-01-08T19:58:02.354" v="711" actId="1076"/>
          <ac:graphicFrameMkLst>
            <pc:docMk/>
            <pc:sldMk cId="1760752827" sldId="781"/>
            <ac:graphicFrameMk id="7" creationId="{E3697C67-F02A-B3F7-7D3D-7E718C19988D}"/>
          </ac:graphicFrameMkLst>
        </pc:graphicFrameChg>
      </pc:sldChg>
      <pc:sldChg chg="addSp delSp modSp add replId">
        <pc:chgData name="Eileen Fleming Suse" userId="S::efs3844@ads.northwestern.edu::725c94ef-d051-42d7-9d33-8572765d592b" providerId="AD" clId="Web-{0108D60B-BCCB-FC71-A764-6DA2F3D1F847}" dt="2024-01-08T20:22:22.450" v="795" actId="1076"/>
        <pc:sldMkLst>
          <pc:docMk/>
          <pc:sldMk cId="1996400893" sldId="782"/>
        </pc:sldMkLst>
        <pc:spChg chg="mod">
          <ac:chgData name="Eileen Fleming Suse" userId="S::efs3844@ads.northwestern.edu::725c94ef-d051-42d7-9d33-8572765d592b" providerId="AD" clId="Web-{0108D60B-BCCB-FC71-A764-6DA2F3D1F847}" dt="2024-01-08T20:22:00.856" v="793"/>
          <ac:spMkLst>
            <pc:docMk/>
            <pc:sldMk cId="1996400893" sldId="782"/>
            <ac:spMk id="2" creationId="{5FE65BC2-3E0A-5267-2728-E75C5322EA1E}"/>
          </ac:spMkLst>
        </pc:spChg>
        <pc:spChg chg="add del mod">
          <ac:chgData name="Eileen Fleming Suse" userId="S::efs3844@ads.northwestern.edu::725c94ef-d051-42d7-9d33-8572765d592b" providerId="AD" clId="Web-{0108D60B-BCCB-FC71-A764-6DA2F3D1F847}" dt="2024-01-08T20:21:26.527" v="752"/>
          <ac:spMkLst>
            <pc:docMk/>
            <pc:sldMk cId="1996400893" sldId="782"/>
            <ac:spMk id="6" creationId="{70B7EF6C-928B-6E50-E504-61036EC165FA}"/>
          </ac:spMkLst>
        </pc:spChg>
        <pc:graphicFrameChg chg="del mod modGraphic">
          <ac:chgData name="Eileen Fleming Suse" userId="S::efs3844@ads.northwestern.edu::725c94ef-d051-42d7-9d33-8572765d592b" providerId="AD" clId="Web-{0108D60B-BCCB-FC71-A764-6DA2F3D1F847}" dt="2024-01-08T19:58:25.839" v="719"/>
          <ac:graphicFrameMkLst>
            <pc:docMk/>
            <pc:sldMk cId="1996400893" sldId="782"/>
            <ac:graphicFrameMk id="7" creationId="{5EAA295A-0702-9879-1929-9B07BF4D7B00}"/>
          </ac:graphicFrameMkLst>
        </pc:graphicFrameChg>
        <pc:graphicFrameChg chg="mod modGraphic">
          <ac:chgData name="Eileen Fleming Suse" userId="S::efs3844@ads.northwestern.edu::725c94ef-d051-42d7-9d33-8572765d592b" providerId="AD" clId="Web-{0108D60B-BCCB-FC71-A764-6DA2F3D1F847}" dt="2024-01-08T20:22:22.450" v="795" actId="1076"/>
          <ac:graphicFrameMkLst>
            <pc:docMk/>
            <pc:sldMk cId="1996400893" sldId="782"/>
            <ac:graphicFrameMk id="8" creationId="{7983D868-A342-276F-1CAA-03CC6C829F2D}"/>
          </ac:graphicFrameMkLst>
        </pc:graphicFrameChg>
      </pc:sldChg>
      <pc:sldChg chg="modSp new">
        <pc:chgData name="Eileen Fleming Suse" userId="S::efs3844@ads.northwestern.edu::725c94ef-d051-42d7-9d33-8572765d592b" providerId="AD" clId="Web-{0108D60B-BCCB-FC71-A764-6DA2F3D1F847}" dt="2024-01-08T20:28:16.880" v="803" actId="20577"/>
        <pc:sldMkLst>
          <pc:docMk/>
          <pc:sldMk cId="3842601195" sldId="783"/>
        </pc:sldMkLst>
        <pc:spChg chg="mod">
          <ac:chgData name="Eileen Fleming Suse" userId="S::efs3844@ads.northwestern.edu::725c94ef-d051-42d7-9d33-8572765d592b" providerId="AD" clId="Web-{0108D60B-BCCB-FC71-A764-6DA2F3D1F847}" dt="2024-01-08T20:28:16.880" v="803" actId="20577"/>
          <ac:spMkLst>
            <pc:docMk/>
            <pc:sldMk cId="3842601195" sldId="783"/>
            <ac:spMk id="2" creationId="{4E3F8777-758C-FAF2-E632-AA95D1A84CE7}"/>
          </ac:spMkLst>
        </pc:spChg>
      </pc:sldChg>
    </pc:docChg>
  </pc:docChgLst>
  <pc:docChgLst>
    <pc:chgData name="Isabel Rose Gippo" userId="S::irg9370@ads.northwestern.edu::b10bfe7e-55b9-46dd-9add-2eb52cb66d3b" providerId="AD" clId="Web-{8E3BEBCA-AD6A-76DA-B8D3-33301DA82F27}"/>
    <pc:docChg chg="modSld">
      <pc:chgData name="Isabel Rose Gippo" userId="S::irg9370@ads.northwestern.edu::b10bfe7e-55b9-46dd-9add-2eb52cb66d3b" providerId="AD" clId="Web-{8E3BEBCA-AD6A-76DA-B8D3-33301DA82F27}" dt="2023-10-24T18:26:04.342" v="34"/>
      <pc:docMkLst>
        <pc:docMk/>
      </pc:docMkLst>
      <pc:sldChg chg="addCm">
        <pc:chgData name="Isabel Rose Gippo" userId="S::irg9370@ads.northwestern.edu::b10bfe7e-55b9-46dd-9add-2eb52cb66d3b" providerId="AD" clId="Web-{8E3BEBCA-AD6A-76DA-B8D3-33301DA82F27}" dt="2023-10-24T18:11:44.401" v="0"/>
        <pc:sldMkLst>
          <pc:docMk/>
          <pc:sldMk cId="3090389772" sldId="56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11:44.401" v="0"/>
              <pc2:cmMkLst xmlns:pc2="http://schemas.microsoft.com/office/powerpoint/2019/9/main/command">
                <pc:docMk/>
                <pc:sldMk cId="3090389772" sldId="568"/>
                <pc2:cmMk id="{137A254D-2737-4985-B0AB-6839DDC46AE0}"/>
              </pc2:cmMkLst>
            </pc226:cmChg>
          </p:ext>
        </pc:extLst>
      </pc:sldChg>
      <pc:sldChg chg="modSp">
        <pc:chgData name="Isabel Rose Gippo" userId="S::irg9370@ads.northwestern.edu::b10bfe7e-55b9-46dd-9add-2eb52cb66d3b" providerId="AD" clId="Web-{8E3BEBCA-AD6A-76DA-B8D3-33301DA82F27}" dt="2023-10-24T18:22:26.399" v="21" actId="20577"/>
        <pc:sldMkLst>
          <pc:docMk/>
          <pc:sldMk cId="1088329954" sldId="569"/>
        </pc:sldMkLst>
        <pc:spChg chg="mod">
          <ac:chgData name="Isabel Rose Gippo" userId="S::irg9370@ads.northwestern.edu::b10bfe7e-55b9-46dd-9add-2eb52cb66d3b" providerId="AD" clId="Web-{8E3BEBCA-AD6A-76DA-B8D3-33301DA82F27}" dt="2023-10-24T18:22:26.399" v="21" actId="20577"/>
          <ac:spMkLst>
            <pc:docMk/>
            <pc:sldMk cId="1088329954" sldId="569"/>
            <ac:spMk id="7" creationId="{EAD90045-A731-42F5-ED3E-D5AE61B97B24}"/>
          </ac:spMkLst>
        </pc:spChg>
      </pc:sldChg>
      <pc:sldChg chg="modSp">
        <pc:chgData name="Isabel Rose Gippo" userId="S::irg9370@ads.northwestern.edu::b10bfe7e-55b9-46dd-9add-2eb52cb66d3b" providerId="AD" clId="Web-{8E3BEBCA-AD6A-76DA-B8D3-33301DA82F27}" dt="2023-10-24T18:22:39.837" v="23"/>
        <pc:sldMkLst>
          <pc:docMk/>
          <pc:sldMk cId="2849312483" sldId="570"/>
        </pc:sldMkLst>
        <pc:spChg chg="mod">
          <ac:chgData name="Isabel Rose Gippo" userId="S::irg9370@ads.northwestern.edu::b10bfe7e-55b9-46dd-9add-2eb52cb66d3b" providerId="AD" clId="Web-{8E3BEBCA-AD6A-76DA-B8D3-33301DA82F27}" dt="2023-10-24T18:13:20.762" v="1"/>
          <ac:spMkLst>
            <pc:docMk/>
            <pc:sldMk cId="2849312483" sldId="570"/>
            <ac:spMk id="5" creationId="{E069BE35-38BF-B866-0B62-A243ACB6F110}"/>
          </ac:spMkLst>
        </pc:spChg>
        <pc:spChg chg="mod">
          <ac:chgData name="Isabel Rose Gippo" userId="S::irg9370@ads.northwestern.edu::b10bfe7e-55b9-46dd-9add-2eb52cb66d3b" providerId="AD" clId="Web-{8E3BEBCA-AD6A-76DA-B8D3-33301DA82F27}" dt="2023-10-24T18:22:39.837" v="23"/>
          <ac:spMkLst>
            <pc:docMk/>
            <pc:sldMk cId="2849312483" sldId="570"/>
            <ac:spMk id="10" creationId="{C8307CA0-040F-CDB1-5F4D-16A04C6E74DF}"/>
          </ac:spMkLst>
        </pc:spChg>
      </pc:sldChg>
      <pc:sldChg chg="modSp addCm modCm">
        <pc:chgData name="Isabel Rose Gippo" userId="S::irg9370@ads.northwestern.edu::b10bfe7e-55b9-46dd-9add-2eb52cb66d3b" providerId="AD" clId="Web-{8E3BEBCA-AD6A-76DA-B8D3-33301DA82F27}" dt="2023-10-24T18:23:42.745" v="30" actId="1076"/>
        <pc:sldMkLst>
          <pc:docMk/>
          <pc:sldMk cId="1337825202" sldId="571"/>
        </pc:sldMkLst>
        <pc:spChg chg="mod">
          <ac:chgData name="Isabel Rose Gippo" userId="S::irg9370@ads.northwestern.edu::b10bfe7e-55b9-46dd-9add-2eb52cb66d3b" providerId="AD" clId="Web-{8E3BEBCA-AD6A-76DA-B8D3-33301DA82F27}" dt="2023-10-24T18:23:26.463" v="28" actId="1076"/>
          <ac:spMkLst>
            <pc:docMk/>
            <pc:sldMk cId="1337825202" sldId="571"/>
            <ac:spMk id="4" creationId="{16B24218-AF37-F6C6-7684-E7E3C16AFAF4}"/>
          </ac:spMkLst>
        </pc:spChg>
        <pc:spChg chg="mod">
          <ac:chgData name="Isabel Rose Gippo" userId="S::irg9370@ads.northwestern.edu::b10bfe7e-55b9-46dd-9add-2eb52cb66d3b" providerId="AD" clId="Web-{8E3BEBCA-AD6A-76DA-B8D3-33301DA82F27}" dt="2023-10-24T18:23:42.745" v="30" actId="1076"/>
          <ac:spMkLst>
            <pc:docMk/>
            <pc:sldMk cId="1337825202" sldId="571"/>
            <ac:spMk id="5" creationId="{45477BD9-E066-785E-8D58-760863918D07}"/>
          </ac:spMkLst>
        </pc:spChg>
        <pc:spChg chg="mod">
          <ac:chgData name="Isabel Rose Gippo" userId="S::irg9370@ads.northwestern.edu::b10bfe7e-55b9-46dd-9add-2eb52cb66d3b" providerId="AD" clId="Web-{8E3BEBCA-AD6A-76DA-B8D3-33301DA82F27}" dt="2023-10-24T18:23:31.698" v="29" actId="1076"/>
          <ac:spMkLst>
            <pc:docMk/>
            <pc:sldMk cId="1337825202" sldId="571"/>
            <ac:spMk id="7" creationId="{70F70170-82A9-3F58-8A7E-1C8F0DE96C28}"/>
          </ac:spMkLst>
        </pc:spChg>
        <pc:spChg chg="mod">
          <ac:chgData name="Isabel Rose Gippo" userId="S::irg9370@ads.northwestern.edu::b10bfe7e-55b9-46dd-9add-2eb52cb66d3b" providerId="AD" clId="Web-{8E3BEBCA-AD6A-76DA-B8D3-33301DA82F27}" dt="2023-10-24T18:23:19.760" v="26" actId="1076"/>
          <ac:spMkLst>
            <pc:docMk/>
            <pc:sldMk cId="1337825202" sldId="571"/>
            <ac:spMk id="19" creationId="{F49C1F1A-614A-5749-1A3F-78980B65ADBC}"/>
          </ac:spMkLst>
        </pc:spChg>
        <pc:picChg chg="mod">
          <ac:chgData name="Isabel Rose Gippo" userId="S::irg9370@ads.northwestern.edu::b10bfe7e-55b9-46dd-9add-2eb52cb66d3b" providerId="AD" clId="Web-{8E3BEBCA-AD6A-76DA-B8D3-33301DA82F27}" dt="2023-10-24T18:23:21.682" v="27" actId="1076"/>
          <ac:picMkLst>
            <pc:docMk/>
            <pc:sldMk cId="1337825202" sldId="571"/>
            <ac:picMk id="3" creationId="{295316AB-273C-55D8-0FED-C92B67DB5F3C}"/>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3:05.041" v="24"/>
              <pc2:cmMkLst xmlns:pc2="http://schemas.microsoft.com/office/powerpoint/2019/9/main/command">
                <pc:docMk/>
                <pc:sldMk cId="1337825202" sldId="571"/>
                <pc2:cmMk id="{597B57DA-0034-4896-9C5A-F5F5B1181A4B}"/>
              </pc2:cmMkLst>
              <pc226:cmRplyChg chg="add">
                <pc226:chgData name="Isabel Rose Gippo" userId="S::irg9370@ads.northwestern.edu::b10bfe7e-55b9-46dd-9add-2eb52cb66d3b" providerId="AD" clId="Web-{8E3BEBCA-AD6A-76DA-B8D3-33301DA82F27}" dt="2023-10-24T18:23:05.041" v="24"/>
                <pc2:cmRplyMkLst xmlns:pc2="http://schemas.microsoft.com/office/powerpoint/2019/9/main/command">
                  <pc:docMk/>
                  <pc:sldMk cId="1337825202" sldId="571"/>
                  <pc2:cmMk id="{597B57DA-0034-4896-9C5A-F5F5B1181A4B}"/>
                  <pc2:cmRplyMk id="{0B20A1DB-B066-4B4C-A06C-07EF4136C81F}"/>
                </pc2:cmRplyMkLst>
              </pc226:cmRplyChg>
            </pc226:cmChg>
          </p:ext>
        </pc:extLst>
      </pc:sldChg>
      <pc:sldChg chg="modSp addCm">
        <pc:chgData name="Isabel Rose Gippo" userId="S::irg9370@ads.northwestern.edu::b10bfe7e-55b9-46dd-9add-2eb52cb66d3b" providerId="AD" clId="Web-{8E3BEBCA-AD6A-76DA-B8D3-33301DA82F27}" dt="2023-10-24T18:26:04.342" v="34"/>
        <pc:sldMkLst>
          <pc:docMk/>
          <pc:sldMk cId="1568500938" sldId="575"/>
        </pc:sldMkLst>
        <pc:spChg chg="mod">
          <ac:chgData name="Isabel Rose Gippo" userId="S::irg9370@ads.northwestern.edu::b10bfe7e-55b9-46dd-9add-2eb52cb66d3b" providerId="AD" clId="Web-{8E3BEBCA-AD6A-76DA-B8D3-33301DA82F27}" dt="2023-10-24T18:24:13.043" v="33" actId="1076"/>
          <ac:spMkLst>
            <pc:docMk/>
            <pc:sldMk cId="1568500938" sldId="575"/>
            <ac:spMk id="4" creationId="{16B24218-AF37-F6C6-7684-E7E3C16AFAF4}"/>
          </ac:spMkLst>
        </pc:spChg>
        <pc:spChg chg="mod">
          <ac:chgData name="Isabel Rose Gippo" userId="S::irg9370@ads.northwestern.edu::b10bfe7e-55b9-46dd-9add-2eb52cb66d3b" providerId="AD" clId="Web-{8E3BEBCA-AD6A-76DA-B8D3-33301DA82F27}" dt="2023-10-24T18:24:07.386" v="32" actId="1076"/>
          <ac:spMkLst>
            <pc:docMk/>
            <pc:sldMk cId="1568500938" sldId="575"/>
            <ac:spMk id="19" creationId="{F49C1F1A-614A-5749-1A3F-78980B65ADBC}"/>
          </ac:spMkLst>
        </pc:spChg>
        <pc:picChg chg="mod">
          <ac:chgData name="Isabel Rose Gippo" userId="S::irg9370@ads.northwestern.edu::b10bfe7e-55b9-46dd-9add-2eb52cb66d3b" providerId="AD" clId="Web-{8E3BEBCA-AD6A-76DA-B8D3-33301DA82F27}" dt="2023-10-24T18:24:01.308" v="31" actId="1076"/>
          <ac:picMkLst>
            <pc:docMk/>
            <pc:sldMk cId="1568500938" sldId="575"/>
            <ac:picMk id="8" creationId="{C4A61916-BC63-F6E7-BBA0-F124F7732FEA}"/>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6:04.342" v="34"/>
              <pc2:cmMkLst xmlns:pc2="http://schemas.microsoft.com/office/powerpoint/2019/9/main/command">
                <pc:docMk/>
                <pc:sldMk cId="1568500938" sldId="575"/>
                <pc2:cmMk id="{AE1B6C45-0EF0-4CD3-8E51-393E7FE3AF62}"/>
              </pc2:cmMkLst>
            </pc226:cmChg>
          </p:ext>
        </pc:extLst>
      </pc:sldChg>
      <pc:sldChg chg="modSp">
        <pc:chgData name="Isabel Rose Gippo" userId="S::irg9370@ads.northwestern.edu::b10bfe7e-55b9-46dd-9add-2eb52cb66d3b" providerId="AD" clId="Web-{8E3BEBCA-AD6A-76DA-B8D3-33301DA82F27}" dt="2023-10-24T18:21:10.257" v="19" actId="1076"/>
        <pc:sldMkLst>
          <pc:docMk/>
          <pc:sldMk cId="1407824229" sldId="576"/>
        </pc:sldMkLst>
        <pc:spChg chg="mod">
          <ac:chgData name="Isabel Rose Gippo" userId="S::irg9370@ads.northwestern.edu::b10bfe7e-55b9-46dd-9add-2eb52cb66d3b" providerId="AD" clId="Web-{8E3BEBCA-AD6A-76DA-B8D3-33301DA82F27}" dt="2023-10-24T18:21:10.257" v="19" actId="1076"/>
          <ac:spMkLst>
            <pc:docMk/>
            <pc:sldMk cId="1407824229" sldId="576"/>
            <ac:spMk id="5" creationId="{45477BD9-E066-785E-8D58-760863918D07}"/>
          </ac:spMkLst>
        </pc:spChg>
        <pc:spChg chg="mod">
          <ac:chgData name="Isabel Rose Gippo" userId="S::irg9370@ads.northwestern.edu::b10bfe7e-55b9-46dd-9add-2eb52cb66d3b" providerId="AD" clId="Web-{8E3BEBCA-AD6A-76DA-B8D3-33301DA82F27}" dt="2023-10-24T18:21:07.601" v="18" actId="14100"/>
          <ac:spMkLst>
            <pc:docMk/>
            <pc:sldMk cId="1407824229" sldId="576"/>
            <ac:spMk id="7" creationId="{70F70170-82A9-3F58-8A7E-1C8F0DE96C28}"/>
          </ac:spMkLst>
        </pc:spChg>
      </pc:sldChg>
    </pc:docChg>
  </pc:docChgLst>
  <pc:docChgLst>
    <pc:chgData name="Alana Rivera" userId="S::arg3669@ads.northwestern.edu::fc8b707a-b7e9-4f2a-8d71-2d76819b7881" providerId="AD" clId="Web-{9570DE12-7482-A365-A3C2-E94E5026C97C}"/>
    <pc:docChg chg="modSld">
      <pc:chgData name="Alana Rivera" userId="S::arg3669@ads.northwestern.edu::fc8b707a-b7e9-4f2a-8d71-2d76819b7881" providerId="AD" clId="Web-{9570DE12-7482-A365-A3C2-E94E5026C97C}" dt="2023-11-17T16:55:40.336" v="20" actId="20577"/>
      <pc:docMkLst>
        <pc:docMk/>
      </pc:docMkLst>
      <pc:sldChg chg="modSp">
        <pc:chgData name="Alana Rivera" userId="S::arg3669@ads.northwestern.edu::fc8b707a-b7e9-4f2a-8d71-2d76819b7881" providerId="AD" clId="Web-{9570DE12-7482-A365-A3C2-E94E5026C97C}" dt="2023-11-17T16:52:05.785" v="4"/>
        <pc:sldMkLst>
          <pc:docMk/>
          <pc:sldMk cId="714682852" sldId="552"/>
        </pc:sldMkLst>
        <pc:spChg chg="mod">
          <ac:chgData name="Alana Rivera" userId="S::arg3669@ads.northwestern.edu::fc8b707a-b7e9-4f2a-8d71-2d76819b7881" providerId="AD" clId="Web-{9570DE12-7482-A365-A3C2-E94E5026C97C}" dt="2023-11-17T16:52:05.785" v="4"/>
          <ac:spMkLst>
            <pc:docMk/>
            <pc:sldMk cId="714682852" sldId="552"/>
            <ac:spMk id="2" creationId="{966FAC69-62AA-D40E-C4BD-DAD5BF599C69}"/>
          </ac:spMkLst>
        </pc:spChg>
      </pc:sldChg>
      <pc:sldChg chg="modSp">
        <pc:chgData name="Alana Rivera" userId="S::arg3669@ads.northwestern.edu::fc8b707a-b7e9-4f2a-8d71-2d76819b7881" providerId="AD" clId="Web-{9570DE12-7482-A365-A3C2-E94E5026C97C}" dt="2023-11-17T16:52:26.286" v="6"/>
        <pc:sldMkLst>
          <pc:docMk/>
          <pc:sldMk cId="3536510335" sldId="553"/>
        </pc:sldMkLst>
        <pc:spChg chg="mod">
          <ac:chgData name="Alana Rivera" userId="S::arg3669@ads.northwestern.edu::fc8b707a-b7e9-4f2a-8d71-2d76819b7881" providerId="AD" clId="Web-{9570DE12-7482-A365-A3C2-E94E5026C97C}" dt="2023-11-17T16:52:26.286" v="6"/>
          <ac:spMkLst>
            <pc:docMk/>
            <pc:sldMk cId="3536510335" sldId="553"/>
            <ac:spMk id="10" creationId="{7FA2B65B-6DF5-1F48-C692-646D2CEF0E2F}"/>
          </ac:spMkLst>
        </pc:spChg>
      </pc:sldChg>
      <pc:sldChg chg="modSp">
        <pc:chgData name="Alana Rivera" userId="S::arg3669@ads.northwestern.edu::fc8b707a-b7e9-4f2a-8d71-2d76819b7881" providerId="AD" clId="Web-{9570DE12-7482-A365-A3C2-E94E5026C97C}" dt="2023-11-17T16:52:15.988" v="5"/>
        <pc:sldMkLst>
          <pc:docMk/>
          <pc:sldMk cId="1231844700" sldId="554"/>
        </pc:sldMkLst>
        <pc:spChg chg="mod">
          <ac:chgData name="Alana Rivera" userId="S::arg3669@ads.northwestern.edu::fc8b707a-b7e9-4f2a-8d71-2d76819b7881" providerId="AD" clId="Web-{9570DE12-7482-A365-A3C2-E94E5026C97C}" dt="2023-11-17T16:52:15.988" v="5"/>
          <ac:spMkLst>
            <pc:docMk/>
            <pc:sldMk cId="1231844700" sldId="554"/>
            <ac:spMk id="2" creationId="{61FD53C4-A666-522F-F9AB-081D90D541D1}"/>
          </ac:spMkLst>
        </pc:spChg>
      </pc:sldChg>
      <pc:sldChg chg="modSp">
        <pc:chgData name="Alana Rivera" userId="S::arg3669@ads.northwestern.edu::fc8b707a-b7e9-4f2a-8d71-2d76819b7881" providerId="AD" clId="Web-{9570DE12-7482-A365-A3C2-E94E5026C97C}" dt="2023-11-17T16:48:18.031" v="3" actId="20577"/>
        <pc:sldMkLst>
          <pc:docMk/>
          <pc:sldMk cId="3336998141" sldId="681"/>
        </pc:sldMkLst>
        <pc:spChg chg="mod">
          <ac:chgData name="Alana Rivera" userId="S::arg3669@ads.northwestern.edu::fc8b707a-b7e9-4f2a-8d71-2d76819b7881" providerId="AD" clId="Web-{9570DE12-7482-A365-A3C2-E94E5026C97C}" dt="2023-11-17T16:48:18.031" v="3" actId="20577"/>
          <ac:spMkLst>
            <pc:docMk/>
            <pc:sldMk cId="3336998141" sldId="681"/>
            <ac:spMk id="3" creationId="{00000000-0000-0000-0000-000000000000}"/>
          </ac:spMkLst>
        </pc:spChg>
      </pc:sldChg>
      <pc:sldChg chg="addSp modSp">
        <pc:chgData name="Alana Rivera" userId="S::arg3669@ads.northwestern.edu::fc8b707a-b7e9-4f2a-8d71-2d76819b7881" providerId="AD" clId="Web-{9570DE12-7482-A365-A3C2-E94E5026C97C}" dt="2023-11-17T16:55:40.336" v="20" actId="20577"/>
        <pc:sldMkLst>
          <pc:docMk/>
          <pc:sldMk cId="2547146411" sldId="699"/>
        </pc:sldMkLst>
        <pc:spChg chg="add mod">
          <ac:chgData name="Alana Rivera" userId="S::arg3669@ads.northwestern.edu::fc8b707a-b7e9-4f2a-8d71-2d76819b7881" providerId="AD" clId="Web-{9570DE12-7482-A365-A3C2-E94E5026C97C}" dt="2023-11-17T16:55:40.336" v="20" actId="20577"/>
          <ac:spMkLst>
            <pc:docMk/>
            <pc:sldMk cId="2547146411" sldId="699"/>
            <ac:spMk id="38" creationId="{38A58365-605F-9282-AEAB-A7E2E448F3E2}"/>
          </ac:spMkLst>
        </pc:spChg>
      </pc:sldChg>
    </pc:docChg>
  </pc:docChgLst>
</pc:chgInfo>
</file>

<file path=ppt/diagrams/_rels/data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2803A7-90A0-4BC6-BC05-28FBD2D976F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1E7551E2-F93B-47D4-9821-DD67FEBEF221}">
      <dgm:prSet/>
      <dgm:spPr/>
      <dgm:t>
        <a:bodyPr/>
        <a:lstStyle/>
        <a:p>
          <a:r>
            <a:rPr lang="en-US"/>
            <a:t>Hospital Level Data form</a:t>
          </a:r>
        </a:p>
      </dgm:t>
    </dgm:pt>
    <dgm:pt modelId="{35D105FF-3E6E-4E68-A8E2-85AC789B699F}" type="parTrans" cxnId="{81F77749-EF3F-41D4-B107-045C3634334D}">
      <dgm:prSet/>
      <dgm:spPr/>
      <dgm:t>
        <a:bodyPr/>
        <a:lstStyle/>
        <a:p>
          <a:endParaRPr lang="en-US"/>
        </a:p>
      </dgm:t>
    </dgm:pt>
    <dgm:pt modelId="{3482EDDA-887F-4535-922A-A7894AA6FF27}" type="sibTrans" cxnId="{81F77749-EF3F-41D4-B107-045C3634334D}">
      <dgm:prSet/>
      <dgm:spPr/>
      <dgm:t>
        <a:bodyPr/>
        <a:lstStyle/>
        <a:p>
          <a:endParaRPr lang="en-US"/>
        </a:p>
      </dgm:t>
    </dgm:pt>
    <dgm:pt modelId="{CDE93A3B-D304-4BF9-B63C-A18A03CC1339}">
      <dgm:prSet/>
      <dgm:spPr/>
      <dgm:t>
        <a:bodyPr/>
        <a:lstStyle/>
        <a:p>
          <a:r>
            <a:rPr lang="en-US"/>
            <a:t>Structure Measures </a:t>
          </a:r>
        </a:p>
      </dgm:t>
    </dgm:pt>
    <dgm:pt modelId="{AC4E72F0-4302-408C-9916-58033F307E66}" type="parTrans" cxnId="{2455CDAC-E222-43F9-9142-8813BE8A5C89}">
      <dgm:prSet/>
      <dgm:spPr/>
      <dgm:t>
        <a:bodyPr/>
        <a:lstStyle/>
        <a:p>
          <a:endParaRPr lang="en-US"/>
        </a:p>
      </dgm:t>
    </dgm:pt>
    <dgm:pt modelId="{B75563AB-8B5A-40CF-949E-A56EF8A4FEBC}" type="sibTrans" cxnId="{2455CDAC-E222-43F9-9142-8813BE8A5C89}">
      <dgm:prSet/>
      <dgm:spPr/>
      <dgm:t>
        <a:bodyPr/>
        <a:lstStyle/>
        <a:p>
          <a:endParaRPr lang="en-US"/>
        </a:p>
      </dgm:t>
    </dgm:pt>
    <dgm:pt modelId="{E048B95C-A001-4DC8-A7B9-E10A52BE0629}">
      <dgm:prSet/>
      <dgm:spPr/>
      <dgm:t>
        <a:bodyPr/>
        <a:lstStyle/>
        <a:p>
          <a:r>
            <a:rPr lang="en-US"/>
            <a:t>Education Measures</a:t>
          </a:r>
        </a:p>
      </dgm:t>
    </dgm:pt>
    <dgm:pt modelId="{D46A2253-7F42-4F35-A6D0-B92212B2AA93}" type="parTrans" cxnId="{340CA8D4-8C91-4151-8F19-CD102E3F8CCC}">
      <dgm:prSet/>
      <dgm:spPr/>
      <dgm:t>
        <a:bodyPr/>
        <a:lstStyle/>
        <a:p>
          <a:endParaRPr lang="en-US"/>
        </a:p>
      </dgm:t>
    </dgm:pt>
    <dgm:pt modelId="{5FA6BCB9-9FAB-401C-AADA-2BAB1285B0E6}" type="sibTrans" cxnId="{340CA8D4-8C91-4151-8F19-CD102E3F8CCC}">
      <dgm:prSet/>
      <dgm:spPr/>
      <dgm:t>
        <a:bodyPr/>
        <a:lstStyle/>
        <a:p>
          <a:endParaRPr lang="en-US"/>
        </a:p>
      </dgm:t>
    </dgm:pt>
    <dgm:pt modelId="{2F96AE4C-80EE-42F0-9C1C-F09A8B9EB6B1}">
      <dgm:prSet/>
      <dgm:spPr/>
      <dgm:t>
        <a:bodyPr/>
        <a:lstStyle/>
        <a:p>
          <a:r>
            <a:rPr lang="en-US"/>
            <a:t>Crib Audits</a:t>
          </a:r>
        </a:p>
      </dgm:t>
    </dgm:pt>
    <dgm:pt modelId="{993F732A-4C89-4B04-949B-565AF25BC9C1}" type="parTrans" cxnId="{B966FE98-A212-43A6-9A1C-E4F1F6105032}">
      <dgm:prSet/>
      <dgm:spPr/>
      <dgm:t>
        <a:bodyPr/>
        <a:lstStyle/>
        <a:p>
          <a:endParaRPr lang="en-US"/>
        </a:p>
      </dgm:t>
    </dgm:pt>
    <dgm:pt modelId="{840B5B38-E302-4593-A113-A37975CD5192}" type="sibTrans" cxnId="{B966FE98-A212-43A6-9A1C-E4F1F6105032}">
      <dgm:prSet/>
      <dgm:spPr/>
      <dgm:t>
        <a:bodyPr/>
        <a:lstStyle/>
        <a:p>
          <a:endParaRPr lang="en-US"/>
        </a:p>
      </dgm:t>
    </dgm:pt>
    <dgm:pt modelId="{22D5BD7D-2E8D-478E-A9E9-F93DFD60822F}">
      <dgm:prSet/>
      <dgm:spPr/>
      <dgm:t>
        <a:bodyPr/>
        <a:lstStyle/>
        <a:p>
          <a:r>
            <a:rPr lang="en-US"/>
            <a:t>Patient Level Data form</a:t>
          </a:r>
        </a:p>
      </dgm:t>
    </dgm:pt>
    <dgm:pt modelId="{0FC81F1A-D000-4B5D-A9D6-601EF1AA153F}" type="parTrans" cxnId="{7A17557C-68F8-460B-B2DB-AD1E9B339C1D}">
      <dgm:prSet/>
      <dgm:spPr/>
      <dgm:t>
        <a:bodyPr/>
        <a:lstStyle/>
        <a:p>
          <a:endParaRPr lang="en-US"/>
        </a:p>
      </dgm:t>
    </dgm:pt>
    <dgm:pt modelId="{514469A3-F785-4FB7-8162-EBEDC6170801}" type="sibTrans" cxnId="{7A17557C-68F8-460B-B2DB-AD1E9B339C1D}">
      <dgm:prSet/>
      <dgm:spPr/>
      <dgm:t>
        <a:bodyPr/>
        <a:lstStyle/>
        <a:p>
          <a:endParaRPr lang="en-US"/>
        </a:p>
      </dgm:t>
    </dgm:pt>
    <dgm:pt modelId="{29A9AEB3-1C54-4E12-B059-0D2F8ED1614B}">
      <dgm:prSet/>
      <dgm:spPr/>
      <dgm:t>
        <a:bodyPr/>
        <a:lstStyle/>
        <a:p>
          <a:r>
            <a:rPr lang="en-US"/>
            <a:t>Random sample of 20 newborns discharged each month​</a:t>
          </a:r>
        </a:p>
      </dgm:t>
    </dgm:pt>
    <dgm:pt modelId="{9FF34403-9B14-437A-8A20-24E31C6152CA}" type="parTrans" cxnId="{48C76931-764E-4E46-B9AE-F6A5150A8A32}">
      <dgm:prSet/>
      <dgm:spPr/>
      <dgm:t>
        <a:bodyPr/>
        <a:lstStyle/>
        <a:p>
          <a:endParaRPr lang="en-US"/>
        </a:p>
      </dgm:t>
    </dgm:pt>
    <dgm:pt modelId="{E12A0EB6-A256-4A0E-AA7A-712D58EA38F9}" type="sibTrans" cxnId="{48C76931-764E-4E46-B9AE-F6A5150A8A32}">
      <dgm:prSet/>
      <dgm:spPr/>
      <dgm:t>
        <a:bodyPr/>
        <a:lstStyle/>
        <a:p>
          <a:endParaRPr lang="en-US"/>
        </a:p>
      </dgm:t>
    </dgm:pt>
    <dgm:pt modelId="{8DD8113F-3048-40A9-8EC1-48C9434AE9D5}">
      <dgm:prSet/>
      <dgm:spPr/>
      <dgm:t>
        <a:bodyPr/>
        <a:lstStyle/>
        <a:p>
          <a:r>
            <a:rPr lang="en-US"/>
            <a:t>Newborn and birthing person demographic data​</a:t>
          </a:r>
        </a:p>
      </dgm:t>
    </dgm:pt>
    <dgm:pt modelId="{A6A15F87-D059-4B54-9240-8FA6FAB1AA11}" type="parTrans" cxnId="{88BDBB16-3955-4632-B83B-21BDC6B2FAB9}">
      <dgm:prSet/>
      <dgm:spPr/>
      <dgm:t>
        <a:bodyPr/>
        <a:lstStyle/>
        <a:p>
          <a:endParaRPr lang="en-US"/>
        </a:p>
      </dgm:t>
    </dgm:pt>
    <dgm:pt modelId="{7E72E34E-F8D6-4976-8500-1FDB964A1093}" type="sibTrans" cxnId="{88BDBB16-3955-4632-B83B-21BDC6B2FAB9}">
      <dgm:prSet/>
      <dgm:spPr/>
      <dgm:t>
        <a:bodyPr/>
        <a:lstStyle/>
        <a:p>
          <a:endParaRPr lang="en-US"/>
        </a:p>
      </dgm:t>
    </dgm:pt>
    <dgm:pt modelId="{DB53729D-64B6-4E6A-A7E6-341E0B9CA7DB}">
      <dgm:prSet/>
      <dgm:spPr/>
      <dgm:t>
        <a:bodyPr/>
        <a:lstStyle/>
        <a:p>
          <a:r>
            <a:rPr lang="en-US"/>
            <a:t>Safe sleep education​</a:t>
          </a:r>
        </a:p>
      </dgm:t>
    </dgm:pt>
    <dgm:pt modelId="{2B6E623A-0592-48CF-A16E-27E8AAD8108A}" type="parTrans" cxnId="{83A9A204-B95F-4184-BEA3-9C14208F3645}">
      <dgm:prSet/>
      <dgm:spPr/>
      <dgm:t>
        <a:bodyPr/>
        <a:lstStyle/>
        <a:p>
          <a:endParaRPr lang="en-US"/>
        </a:p>
      </dgm:t>
    </dgm:pt>
    <dgm:pt modelId="{FBE4F8C7-319D-4B26-8309-872454126917}" type="sibTrans" cxnId="{83A9A204-B95F-4184-BEA3-9C14208F3645}">
      <dgm:prSet/>
      <dgm:spPr/>
      <dgm:t>
        <a:bodyPr/>
        <a:lstStyle/>
        <a:p>
          <a:endParaRPr lang="en-US"/>
        </a:p>
      </dgm:t>
    </dgm:pt>
    <dgm:pt modelId="{EAB071E8-CDD2-4E4F-8F34-A669EEE4D813}">
      <dgm:prSet/>
      <dgm:spPr/>
      <dgm:t>
        <a:bodyPr/>
        <a:lstStyle/>
        <a:p>
          <a:r>
            <a:rPr lang="en-US"/>
            <a:t>Transfer of care documentation​</a:t>
          </a:r>
        </a:p>
      </dgm:t>
    </dgm:pt>
    <dgm:pt modelId="{88AECF3A-DA6F-4E01-9F6E-DC956428531F}" type="parTrans" cxnId="{AF69837F-3867-4E2F-B39B-191E07FEEA4F}">
      <dgm:prSet/>
      <dgm:spPr/>
      <dgm:t>
        <a:bodyPr/>
        <a:lstStyle/>
        <a:p>
          <a:endParaRPr lang="en-US"/>
        </a:p>
      </dgm:t>
    </dgm:pt>
    <dgm:pt modelId="{36C97ABB-C9CF-47D0-9358-749D9FADA06A}" type="sibTrans" cxnId="{AF69837F-3867-4E2F-B39B-191E07FEEA4F}">
      <dgm:prSet/>
      <dgm:spPr/>
      <dgm:t>
        <a:bodyPr/>
        <a:lstStyle/>
        <a:p>
          <a:endParaRPr lang="en-US"/>
        </a:p>
      </dgm:t>
    </dgm:pt>
    <dgm:pt modelId="{CA9A1851-BC48-4982-B52D-BC9989FB78D2}" type="pres">
      <dgm:prSet presAssocID="{9F2803A7-90A0-4BC6-BC05-28FBD2D976FA}" presName="Name0" presStyleCnt="0">
        <dgm:presLayoutVars>
          <dgm:dir/>
          <dgm:animLvl val="lvl"/>
          <dgm:resizeHandles val="exact"/>
        </dgm:presLayoutVars>
      </dgm:prSet>
      <dgm:spPr/>
    </dgm:pt>
    <dgm:pt modelId="{9129533E-A104-45C5-A3B3-305C27EB86D4}" type="pres">
      <dgm:prSet presAssocID="{1E7551E2-F93B-47D4-9821-DD67FEBEF221}" presName="composite" presStyleCnt="0"/>
      <dgm:spPr/>
    </dgm:pt>
    <dgm:pt modelId="{0A6E60D1-F877-47D4-8B41-F856165E7A80}" type="pres">
      <dgm:prSet presAssocID="{1E7551E2-F93B-47D4-9821-DD67FEBEF221}" presName="parTx" presStyleLbl="alignNode1" presStyleIdx="0" presStyleCnt="2">
        <dgm:presLayoutVars>
          <dgm:chMax val="0"/>
          <dgm:chPref val="0"/>
          <dgm:bulletEnabled val="1"/>
        </dgm:presLayoutVars>
      </dgm:prSet>
      <dgm:spPr/>
    </dgm:pt>
    <dgm:pt modelId="{9CDF1165-2B21-4627-8D70-B6E057345958}" type="pres">
      <dgm:prSet presAssocID="{1E7551E2-F93B-47D4-9821-DD67FEBEF221}" presName="desTx" presStyleLbl="alignAccFollowNode1" presStyleIdx="0" presStyleCnt="2">
        <dgm:presLayoutVars>
          <dgm:bulletEnabled val="1"/>
        </dgm:presLayoutVars>
      </dgm:prSet>
      <dgm:spPr/>
    </dgm:pt>
    <dgm:pt modelId="{BA2F7A74-7A3D-4692-B18C-DEEE183052BE}" type="pres">
      <dgm:prSet presAssocID="{3482EDDA-887F-4535-922A-A7894AA6FF27}" presName="space" presStyleCnt="0"/>
      <dgm:spPr/>
    </dgm:pt>
    <dgm:pt modelId="{28FDC6B1-63B4-4B80-8398-8943F315BE9C}" type="pres">
      <dgm:prSet presAssocID="{22D5BD7D-2E8D-478E-A9E9-F93DFD60822F}" presName="composite" presStyleCnt="0"/>
      <dgm:spPr/>
    </dgm:pt>
    <dgm:pt modelId="{72E90577-3D0A-44A9-802D-7402B1482B47}" type="pres">
      <dgm:prSet presAssocID="{22D5BD7D-2E8D-478E-A9E9-F93DFD60822F}" presName="parTx" presStyleLbl="alignNode1" presStyleIdx="1" presStyleCnt="2">
        <dgm:presLayoutVars>
          <dgm:chMax val="0"/>
          <dgm:chPref val="0"/>
          <dgm:bulletEnabled val="1"/>
        </dgm:presLayoutVars>
      </dgm:prSet>
      <dgm:spPr/>
    </dgm:pt>
    <dgm:pt modelId="{CF05495E-421B-40F8-91AB-BC717C052FA2}" type="pres">
      <dgm:prSet presAssocID="{22D5BD7D-2E8D-478E-A9E9-F93DFD60822F}" presName="desTx" presStyleLbl="alignAccFollowNode1" presStyleIdx="1" presStyleCnt="2">
        <dgm:presLayoutVars>
          <dgm:bulletEnabled val="1"/>
        </dgm:presLayoutVars>
      </dgm:prSet>
      <dgm:spPr/>
    </dgm:pt>
  </dgm:ptLst>
  <dgm:cxnLst>
    <dgm:cxn modelId="{FE096E00-CE66-4981-9D15-0A3D8AD2388C}" type="presOf" srcId="{EAB071E8-CDD2-4E4F-8F34-A669EEE4D813}" destId="{CF05495E-421B-40F8-91AB-BC717C052FA2}" srcOrd="0" destOrd="3" presId="urn:microsoft.com/office/officeart/2005/8/layout/hList1"/>
    <dgm:cxn modelId="{83A9A204-B95F-4184-BEA3-9C14208F3645}" srcId="{22D5BD7D-2E8D-478E-A9E9-F93DFD60822F}" destId="{DB53729D-64B6-4E6A-A7E6-341E0B9CA7DB}" srcOrd="2" destOrd="0" parTransId="{2B6E623A-0592-48CF-A16E-27E8AAD8108A}" sibTransId="{FBE4F8C7-319D-4B26-8309-872454126917}"/>
    <dgm:cxn modelId="{EFD36A07-2EFF-410F-9378-FDC95117018C}" type="presOf" srcId="{DB53729D-64B6-4E6A-A7E6-341E0B9CA7DB}" destId="{CF05495E-421B-40F8-91AB-BC717C052FA2}" srcOrd="0" destOrd="2" presId="urn:microsoft.com/office/officeart/2005/8/layout/hList1"/>
    <dgm:cxn modelId="{88BDBB16-3955-4632-B83B-21BDC6B2FAB9}" srcId="{22D5BD7D-2E8D-478E-A9E9-F93DFD60822F}" destId="{8DD8113F-3048-40A9-8EC1-48C9434AE9D5}" srcOrd="1" destOrd="0" parTransId="{A6A15F87-D059-4B54-9240-8FA6FAB1AA11}" sibTransId="{7E72E34E-F8D6-4976-8500-1FDB964A1093}"/>
    <dgm:cxn modelId="{48C76931-764E-4E46-B9AE-F6A5150A8A32}" srcId="{22D5BD7D-2E8D-478E-A9E9-F93DFD60822F}" destId="{29A9AEB3-1C54-4E12-B059-0D2F8ED1614B}" srcOrd="0" destOrd="0" parTransId="{9FF34403-9B14-437A-8A20-24E31C6152CA}" sibTransId="{E12A0EB6-A256-4A0E-AA7A-712D58EA38F9}"/>
    <dgm:cxn modelId="{81F77749-EF3F-41D4-B107-045C3634334D}" srcId="{9F2803A7-90A0-4BC6-BC05-28FBD2D976FA}" destId="{1E7551E2-F93B-47D4-9821-DD67FEBEF221}" srcOrd="0" destOrd="0" parTransId="{35D105FF-3E6E-4E68-A8E2-85AC789B699F}" sibTransId="{3482EDDA-887F-4535-922A-A7894AA6FF27}"/>
    <dgm:cxn modelId="{B00CE04B-5B7D-42FA-81C6-EC6C82D6C67B}" type="presOf" srcId="{2F96AE4C-80EE-42F0-9C1C-F09A8B9EB6B1}" destId="{9CDF1165-2B21-4627-8D70-B6E057345958}" srcOrd="0" destOrd="2" presId="urn:microsoft.com/office/officeart/2005/8/layout/hList1"/>
    <dgm:cxn modelId="{7165D74D-6BFD-4210-8ABA-77B18A6E3AC1}" type="presOf" srcId="{22D5BD7D-2E8D-478E-A9E9-F93DFD60822F}" destId="{72E90577-3D0A-44A9-802D-7402B1482B47}" srcOrd="0" destOrd="0" presId="urn:microsoft.com/office/officeart/2005/8/layout/hList1"/>
    <dgm:cxn modelId="{C7531579-4B3E-4E9C-A637-CB5355321A5E}" type="presOf" srcId="{9F2803A7-90A0-4BC6-BC05-28FBD2D976FA}" destId="{CA9A1851-BC48-4982-B52D-BC9989FB78D2}" srcOrd="0" destOrd="0" presId="urn:microsoft.com/office/officeart/2005/8/layout/hList1"/>
    <dgm:cxn modelId="{6C1E4979-0D1B-4298-B1D9-B252DC74106A}" type="presOf" srcId="{E048B95C-A001-4DC8-A7B9-E10A52BE0629}" destId="{9CDF1165-2B21-4627-8D70-B6E057345958}" srcOrd="0" destOrd="1" presId="urn:microsoft.com/office/officeart/2005/8/layout/hList1"/>
    <dgm:cxn modelId="{7A17557C-68F8-460B-B2DB-AD1E9B339C1D}" srcId="{9F2803A7-90A0-4BC6-BC05-28FBD2D976FA}" destId="{22D5BD7D-2E8D-478E-A9E9-F93DFD60822F}" srcOrd="1" destOrd="0" parTransId="{0FC81F1A-D000-4B5D-A9D6-601EF1AA153F}" sibTransId="{514469A3-F785-4FB7-8162-EBEDC6170801}"/>
    <dgm:cxn modelId="{0590D27C-00A3-46A1-B525-278D462D6D9B}" type="presOf" srcId="{29A9AEB3-1C54-4E12-B059-0D2F8ED1614B}" destId="{CF05495E-421B-40F8-91AB-BC717C052FA2}" srcOrd="0" destOrd="0" presId="urn:microsoft.com/office/officeart/2005/8/layout/hList1"/>
    <dgm:cxn modelId="{AF69837F-3867-4E2F-B39B-191E07FEEA4F}" srcId="{22D5BD7D-2E8D-478E-A9E9-F93DFD60822F}" destId="{EAB071E8-CDD2-4E4F-8F34-A669EEE4D813}" srcOrd="3" destOrd="0" parTransId="{88AECF3A-DA6F-4E01-9F6E-DC956428531F}" sibTransId="{36C97ABB-C9CF-47D0-9358-749D9FADA06A}"/>
    <dgm:cxn modelId="{45D2B28C-15A1-44B9-9119-17C11CDEBD07}" type="presOf" srcId="{1E7551E2-F93B-47D4-9821-DD67FEBEF221}" destId="{0A6E60D1-F877-47D4-8B41-F856165E7A80}" srcOrd="0" destOrd="0" presId="urn:microsoft.com/office/officeart/2005/8/layout/hList1"/>
    <dgm:cxn modelId="{B966FE98-A212-43A6-9A1C-E4F1F6105032}" srcId="{1E7551E2-F93B-47D4-9821-DD67FEBEF221}" destId="{2F96AE4C-80EE-42F0-9C1C-F09A8B9EB6B1}" srcOrd="2" destOrd="0" parTransId="{993F732A-4C89-4B04-949B-565AF25BC9C1}" sibTransId="{840B5B38-E302-4593-A113-A37975CD5192}"/>
    <dgm:cxn modelId="{2455CDAC-E222-43F9-9142-8813BE8A5C89}" srcId="{1E7551E2-F93B-47D4-9821-DD67FEBEF221}" destId="{CDE93A3B-D304-4BF9-B63C-A18A03CC1339}" srcOrd="0" destOrd="0" parTransId="{AC4E72F0-4302-408C-9916-58033F307E66}" sibTransId="{B75563AB-8B5A-40CF-949E-A56EF8A4FEBC}"/>
    <dgm:cxn modelId="{687232AD-801E-49C7-A659-6917DB7391DF}" type="presOf" srcId="{CDE93A3B-D304-4BF9-B63C-A18A03CC1339}" destId="{9CDF1165-2B21-4627-8D70-B6E057345958}" srcOrd="0" destOrd="0" presId="urn:microsoft.com/office/officeart/2005/8/layout/hList1"/>
    <dgm:cxn modelId="{340CA8D4-8C91-4151-8F19-CD102E3F8CCC}" srcId="{1E7551E2-F93B-47D4-9821-DD67FEBEF221}" destId="{E048B95C-A001-4DC8-A7B9-E10A52BE0629}" srcOrd="1" destOrd="0" parTransId="{D46A2253-7F42-4F35-A6D0-B92212B2AA93}" sibTransId="{5FA6BCB9-9FAB-401C-AADA-2BAB1285B0E6}"/>
    <dgm:cxn modelId="{371B7BD9-6F73-40A3-9216-7B800D8FFB25}" type="presOf" srcId="{8DD8113F-3048-40A9-8EC1-48C9434AE9D5}" destId="{CF05495E-421B-40F8-91AB-BC717C052FA2}" srcOrd="0" destOrd="1" presId="urn:microsoft.com/office/officeart/2005/8/layout/hList1"/>
    <dgm:cxn modelId="{89902445-5C9C-4DEC-AF52-A6FEF9EB696B}" type="presParOf" srcId="{CA9A1851-BC48-4982-B52D-BC9989FB78D2}" destId="{9129533E-A104-45C5-A3B3-305C27EB86D4}" srcOrd="0" destOrd="0" presId="urn:microsoft.com/office/officeart/2005/8/layout/hList1"/>
    <dgm:cxn modelId="{DF7AF739-0732-4AA9-9990-97583BB98171}" type="presParOf" srcId="{9129533E-A104-45C5-A3B3-305C27EB86D4}" destId="{0A6E60D1-F877-47D4-8B41-F856165E7A80}" srcOrd="0" destOrd="0" presId="urn:microsoft.com/office/officeart/2005/8/layout/hList1"/>
    <dgm:cxn modelId="{BA89DBE8-F864-41DC-B5B3-EE7E81A28A4D}" type="presParOf" srcId="{9129533E-A104-45C5-A3B3-305C27EB86D4}" destId="{9CDF1165-2B21-4627-8D70-B6E057345958}" srcOrd="1" destOrd="0" presId="urn:microsoft.com/office/officeart/2005/8/layout/hList1"/>
    <dgm:cxn modelId="{BBF643C8-4331-4499-B743-2FE207F17EB9}" type="presParOf" srcId="{CA9A1851-BC48-4982-B52D-BC9989FB78D2}" destId="{BA2F7A74-7A3D-4692-B18C-DEEE183052BE}" srcOrd="1" destOrd="0" presId="urn:microsoft.com/office/officeart/2005/8/layout/hList1"/>
    <dgm:cxn modelId="{27CCB225-6587-49D5-A4FA-EAD3CC97C905}" type="presParOf" srcId="{CA9A1851-BC48-4982-B52D-BC9989FB78D2}" destId="{28FDC6B1-63B4-4B80-8398-8943F315BE9C}" srcOrd="2" destOrd="0" presId="urn:microsoft.com/office/officeart/2005/8/layout/hList1"/>
    <dgm:cxn modelId="{76BF201C-395D-46F7-9054-A027AFFD8F08}" type="presParOf" srcId="{28FDC6B1-63B4-4B80-8398-8943F315BE9C}" destId="{72E90577-3D0A-44A9-802D-7402B1482B47}" srcOrd="0" destOrd="0" presId="urn:microsoft.com/office/officeart/2005/8/layout/hList1"/>
    <dgm:cxn modelId="{0B39C839-4462-4100-BB73-959B02A80F29}" type="presParOf" srcId="{28FDC6B1-63B4-4B80-8398-8943F315BE9C}" destId="{CF05495E-421B-40F8-91AB-BC717C052FA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E31CE2D-52AD-47EE-9F57-FF0C2AB9FBB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DD004FB2-A568-4C30-AA6F-36014AE077F5}">
      <dgm:prSet phldrT="[Text]" phldr="0"/>
      <dgm:spPr/>
      <dgm:t>
        <a:bodyPr/>
        <a:lstStyle/>
        <a:p>
          <a:pPr rtl="0"/>
          <a:r>
            <a:rPr lang="en-US" dirty="0">
              <a:solidFill>
                <a:schemeClr val="bg1"/>
              </a:solidFill>
              <a:latin typeface="Calibri" panose="020F0502020204030204"/>
            </a:rPr>
            <a:t>First ESSI Monthly Webinar</a:t>
          </a:r>
        </a:p>
      </dgm:t>
    </dgm:pt>
    <dgm:pt modelId="{8A748206-AA4B-4343-A7F9-8E20175B63BD}" type="parTrans" cxnId="{3E189249-B51E-4CE4-A1B6-4178EBF15B98}">
      <dgm:prSet/>
      <dgm:spPr/>
      <dgm:t>
        <a:bodyPr/>
        <a:lstStyle/>
        <a:p>
          <a:endParaRPr lang="en-US"/>
        </a:p>
      </dgm:t>
    </dgm:pt>
    <dgm:pt modelId="{27591AC4-CF58-4301-ADC8-138FE74B6235}" type="sibTrans" cxnId="{3E189249-B51E-4CE4-A1B6-4178EBF15B98}">
      <dgm:prSet/>
      <dgm:spPr/>
      <dgm:t>
        <a:bodyPr/>
        <a:lstStyle/>
        <a:p>
          <a:endParaRPr lang="en-US"/>
        </a:p>
      </dgm:t>
    </dgm:pt>
    <dgm:pt modelId="{27331272-1A14-4E80-B031-5AA5C5A02FFF}">
      <dgm:prSet phldrT="[Text]" phldr="0"/>
      <dgm:spPr/>
      <dgm:t>
        <a:bodyPr/>
        <a:lstStyle/>
        <a:p>
          <a:pPr rtl="0"/>
          <a:r>
            <a:rPr lang="en-US" dirty="0">
              <a:latin typeface="Calibri" panose="020F0502020204030204"/>
            </a:rPr>
            <a:t>January 18th, 2024</a:t>
          </a:r>
          <a:endParaRPr lang="en-US" dirty="0"/>
        </a:p>
      </dgm:t>
    </dgm:pt>
    <dgm:pt modelId="{122F1A91-902B-46B9-8338-EF09B86B28D2}" type="parTrans" cxnId="{49DE3DA2-09E1-4714-93B6-2DD2D749A3C6}">
      <dgm:prSet/>
      <dgm:spPr/>
      <dgm:t>
        <a:bodyPr/>
        <a:lstStyle/>
        <a:p>
          <a:endParaRPr lang="en-US"/>
        </a:p>
      </dgm:t>
    </dgm:pt>
    <dgm:pt modelId="{D141C3BC-F34D-4A2E-BCBE-2D15C984B647}" type="sibTrans" cxnId="{49DE3DA2-09E1-4714-93B6-2DD2D749A3C6}">
      <dgm:prSet/>
      <dgm:spPr/>
      <dgm:t>
        <a:bodyPr/>
        <a:lstStyle/>
        <a:p>
          <a:endParaRPr lang="en-US"/>
        </a:p>
      </dgm:t>
    </dgm:pt>
    <dgm:pt modelId="{017DC130-9F90-46B9-BC95-6B4655F98326}">
      <dgm:prSet phldr="0"/>
      <dgm:spPr/>
      <dgm:t>
        <a:bodyPr/>
        <a:lstStyle/>
        <a:p>
          <a:pPr rtl="0"/>
          <a:r>
            <a:rPr lang="en-US" dirty="0">
              <a:latin typeface="Calibri" panose="020F0502020204030204"/>
            </a:rPr>
            <a:t>December 7th, 2023</a:t>
          </a:r>
        </a:p>
      </dgm:t>
    </dgm:pt>
    <dgm:pt modelId="{3812E649-201B-4DFF-8BBC-01B4BBC59472}" type="parTrans" cxnId="{511E4CF6-5811-40F7-A02D-75BFF4F1BF21}">
      <dgm:prSet/>
      <dgm:spPr/>
      <dgm:t>
        <a:bodyPr/>
        <a:lstStyle/>
        <a:p>
          <a:endParaRPr lang="en-US"/>
        </a:p>
      </dgm:t>
    </dgm:pt>
    <dgm:pt modelId="{CC58E277-C8D2-4919-914C-61D9B04D7FA7}" type="sibTrans" cxnId="{511E4CF6-5811-40F7-A02D-75BFF4F1BF21}">
      <dgm:prSet/>
      <dgm:spPr/>
      <dgm:t>
        <a:bodyPr/>
        <a:lstStyle/>
        <a:p>
          <a:endParaRPr lang="en-US"/>
        </a:p>
      </dgm:t>
    </dgm:pt>
    <dgm:pt modelId="{A0D4E7A4-3117-4723-AAF3-8936E6B80F33}">
      <dgm:prSet phldr="0"/>
      <dgm:spPr/>
      <dgm:t>
        <a:bodyPr/>
        <a:lstStyle/>
        <a:p>
          <a:pPr rtl="0"/>
          <a:r>
            <a:rPr lang="en-US" dirty="0">
              <a:latin typeface="Calibri" panose="020F0502020204030204"/>
            </a:rPr>
            <a:t>QI Team Lead Support Call</a:t>
          </a:r>
        </a:p>
      </dgm:t>
    </dgm:pt>
    <dgm:pt modelId="{03EBEDE4-5DB2-4ECC-B6FB-1004FF9F36BC}" type="parTrans" cxnId="{5E59A7AB-CE34-464C-B6A2-AF34995932B4}">
      <dgm:prSet/>
      <dgm:spPr/>
      <dgm:t>
        <a:bodyPr/>
        <a:lstStyle/>
        <a:p>
          <a:endParaRPr lang="en-US"/>
        </a:p>
      </dgm:t>
    </dgm:pt>
    <dgm:pt modelId="{7A8CEC07-3094-400E-A904-2790BC6396A7}" type="sibTrans" cxnId="{5E59A7AB-CE34-464C-B6A2-AF34995932B4}">
      <dgm:prSet/>
      <dgm:spPr/>
      <dgm:t>
        <a:bodyPr/>
        <a:lstStyle/>
        <a:p>
          <a:endParaRPr lang="en-US"/>
        </a:p>
      </dgm:t>
    </dgm:pt>
    <dgm:pt modelId="{04184E62-4203-4EBA-846A-647E12EDFE7B}">
      <dgm:prSet phldr="0"/>
      <dgm:spPr/>
      <dgm:t>
        <a:bodyPr/>
        <a:lstStyle/>
        <a:p>
          <a:pPr rtl="0"/>
          <a:r>
            <a:rPr lang="en-US" dirty="0">
              <a:latin typeface="Calibri" panose="020F0502020204030204"/>
            </a:rPr>
            <a:t>January 11th, 2024</a:t>
          </a:r>
        </a:p>
      </dgm:t>
    </dgm:pt>
    <dgm:pt modelId="{EE4A0166-5E04-4EBC-AF62-E44395844E0C}" type="parTrans" cxnId="{EE9E9E4D-E9D0-4DF0-BDDB-06881D93649A}">
      <dgm:prSet/>
      <dgm:spPr/>
      <dgm:t>
        <a:bodyPr/>
        <a:lstStyle/>
        <a:p>
          <a:endParaRPr lang="en-US"/>
        </a:p>
      </dgm:t>
    </dgm:pt>
    <dgm:pt modelId="{2F6FE8A9-DA40-4FAB-B60D-059693FD4BA0}" type="sibTrans" cxnId="{EE9E9E4D-E9D0-4DF0-BDDB-06881D93649A}">
      <dgm:prSet/>
      <dgm:spPr/>
      <dgm:t>
        <a:bodyPr/>
        <a:lstStyle/>
        <a:p>
          <a:endParaRPr lang="en-US"/>
        </a:p>
      </dgm:t>
    </dgm:pt>
    <dgm:pt modelId="{3D132738-1FFB-47B6-A01C-0E0BA5C84AF4}">
      <dgm:prSet phldr="0"/>
      <dgm:spPr/>
      <dgm:t>
        <a:bodyPr/>
        <a:lstStyle/>
        <a:p>
          <a:pPr rtl="0"/>
          <a:r>
            <a:rPr lang="en-US" dirty="0">
              <a:solidFill>
                <a:srgbClr val="444444"/>
              </a:solidFill>
              <a:latin typeface="Calibri" panose="020F0502020204030204"/>
            </a:rPr>
            <a:t>January </a:t>
          </a:r>
          <a:r>
            <a:rPr lang="en-US" dirty="0">
              <a:latin typeface="Calibri" panose="020F0502020204030204"/>
            </a:rPr>
            <a:t>22nd 2024 at 2pm</a:t>
          </a:r>
        </a:p>
      </dgm:t>
    </dgm:pt>
    <dgm:pt modelId="{3702912D-5439-43E2-989F-EE84A8E59696}" type="parTrans" cxnId="{B712C632-1056-4BFA-8C71-58049149EE79}">
      <dgm:prSet/>
      <dgm:spPr/>
      <dgm:t>
        <a:bodyPr/>
        <a:lstStyle/>
        <a:p>
          <a:endParaRPr lang="en-US"/>
        </a:p>
      </dgm:t>
    </dgm:pt>
    <dgm:pt modelId="{09C5895F-1864-4560-A785-C2AF1169DC22}" type="sibTrans" cxnId="{B712C632-1056-4BFA-8C71-58049149EE79}">
      <dgm:prSet/>
      <dgm:spPr/>
      <dgm:t>
        <a:bodyPr/>
        <a:lstStyle/>
        <a:p>
          <a:endParaRPr lang="en-US"/>
        </a:p>
      </dgm:t>
    </dgm:pt>
    <dgm:pt modelId="{80CD9FC5-84A2-4119-AE4E-1AD6DC2A6A90}">
      <dgm:prSet phldr="0"/>
      <dgm:spPr/>
      <dgm:t>
        <a:bodyPr/>
        <a:lstStyle/>
        <a:p>
          <a:r>
            <a:rPr lang="en-US" dirty="0">
              <a:latin typeface="Calibri" panose="020F0502020204030204"/>
            </a:rPr>
            <a:t>ESSI Data Training Webinars</a:t>
          </a:r>
          <a:endParaRPr lang="en-US" dirty="0"/>
        </a:p>
      </dgm:t>
    </dgm:pt>
    <dgm:pt modelId="{44C892A4-16B5-4D15-B018-7008CEF3E344}" type="parTrans" cxnId="{6795C9E4-6439-4AED-8F87-57DCF0542CEC}">
      <dgm:prSet/>
      <dgm:spPr/>
      <dgm:t>
        <a:bodyPr/>
        <a:lstStyle/>
        <a:p>
          <a:endParaRPr lang="en-US"/>
        </a:p>
      </dgm:t>
    </dgm:pt>
    <dgm:pt modelId="{DD32E8B5-4713-4832-9F58-63A206E397CB}" type="sibTrans" cxnId="{6795C9E4-6439-4AED-8F87-57DCF0542CEC}">
      <dgm:prSet/>
      <dgm:spPr/>
      <dgm:t>
        <a:bodyPr/>
        <a:lstStyle/>
        <a:p>
          <a:endParaRPr lang="en-US"/>
        </a:p>
      </dgm:t>
    </dgm:pt>
    <dgm:pt modelId="{1E8B09AA-4CC9-487B-B16A-6BDBDBFF1448}">
      <dgm:prSet phldr="0"/>
      <dgm:spPr/>
      <dgm:t>
        <a:bodyPr/>
        <a:lstStyle/>
        <a:p>
          <a:pPr rtl="0"/>
          <a:r>
            <a:rPr lang="en-US" dirty="0">
              <a:latin typeface="Calibri" panose="020F0502020204030204"/>
            </a:rPr>
            <a:t>Important information for ESSI team leads on how to get started</a:t>
          </a:r>
        </a:p>
      </dgm:t>
    </dgm:pt>
    <dgm:pt modelId="{572F0438-E305-46A2-B41D-50C346A5F61B}" type="parTrans" cxnId="{3ECA6895-47D3-481A-9ADA-955DE7944A3F}">
      <dgm:prSet/>
      <dgm:spPr/>
      <dgm:t>
        <a:bodyPr/>
        <a:lstStyle/>
        <a:p>
          <a:endParaRPr lang="en-US"/>
        </a:p>
      </dgm:t>
    </dgm:pt>
    <dgm:pt modelId="{486899FC-F27C-4EF0-8E11-85A0FAF30A1F}" type="sibTrans" cxnId="{3ECA6895-47D3-481A-9ADA-955DE7944A3F}">
      <dgm:prSet/>
      <dgm:spPr/>
      <dgm:t>
        <a:bodyPr/>
        <a:lstStyle/>
        <a:p>
          <a:endParaRPr lang="en-US"/>
        </a:p>
      </dgm:t>
    </dgm:pt>
    <dgm:pt modelId="{8987D20E-A147-4A43-925C-44077CAB82FE}">
      <dgm:prSet phldrT="[Text]" phldr="0"/>
      <dgm:spPr/>
      <dgm:t>
        <a:bodyPr/>
        <a:lstStyle/>
        <a:p>
          <a:pPr rtl="0"/>
          <a:r>
            <a:rPr lang="en-US" dirty="0"/>
            <a:t>How to collect data, access redcap, enter data and review reports</a:t>
          </a:r>
        </a:p>
      </dgm:t>
    </dgm:pt>
    <dgm:pt modelId="{6B30D2D7-0E76-4EA4-99EE-94C6A94F841A}" type="parTrans" cxnId="{B4FCBD76-7A47-43C1-973A-9B43A1A74391}">
      <dgm:prSet/>
      <dgm:spPr/>
      <dgm:t>
        <a:bodyPr/>
        <a:lstStyle/>
        <a:p>
          <a:endParaRPr lang="en-US"/>
        </a:p>
      </dgm:t>
    </dgm:pt>
    <dgm:pt modelId="{C80FE73F-A6EA-4A5F-96ED-9CDBAFEA26D0}" type="sibTrans" cxnId="{B4FCBD76-7A47-43C1-973A-9B43A1A74391}">
      <dgm:prSet/>
      <dgm:spPr/>
      <dgm:t>
        <a:bodyPr/>
        <a:lstStyle/>
        <a:p>
          <a:endParaRPr lang="en-US"/>
        </a:p>
      </dgm:t>
    </dgm:pt>
    <dgm:pt modelId="{7F435329-FBED-4AA4-A84F-70D9E9A80178}">
      <dgm:prSet phldr="0"/>
      <dgm:spPr/>
      <dgm:t>
        <a:bodyPr/>
        <a:lstStyle/>
        <a:p>
          <a:pPr rtl="0"/>
          <a:r>
            <a:rPr lang="en-US" dirty="0">
              <a:latin typeface="Calibri" panose="020F0502020204030204"/>
            </a:rPr>
            <a:t>Getting started with healthcare provider and nurse education</a:t>
          </a:r>
        </a:p>
      </dgm:t>
    </dgm:pt>
    <dgm:pt modelId="{E566D771-E43F-4068-844B-AB66BDDEF978}" type="parTrans" cxnId="{EFD93375-6B85-4531-B658-65EBE50D7D0C}">
      <dgm:prSet/>
      <dgm:spPr/>
      <dgm:t>
        <a:bodyPr/>
        <a:lstStyle/>
        <a:p>
          <a:endParaRPr lang="en-US"/>
        </a:p>
      </dgm:t>
    </dgm:pt>
    <dgm:pt modelId="{351D4B12-ACDB-4DE6-B3B8-871BA24FF0AB}" type="sibTrans" cxnId="{EFD93375-6B85-4531-B658-65EBE50D7D0C}">
      <dgm:prSet/>
      <dgm:spPr/>
      <dgm:t>
        <a:bodyPr/>
        <a:lstStyle/>
        <a:p>
          <a:endParaRPr lang="en-US"/>
        </a:p>
      </dgm:t>
    </dgm:pt>
    <dgm:pt modelId="{1AC9F623-2B54-4F8A-831B-0CFEB8F285F0}" type="pres">
      <dgm:prSet presAssocID="{CE31CE2D-52AD-47EE-9F57-FF0C2AB9FBB8}" presName="Name0" presStyleCnt="0">
        <dgm:presLayoutVars>
          <dgm:chPref val="3"/>
          <dgm:dir/>
          <dgm:animLvl val="lvl"/>
          <dgm:resizeHandles/>
        </dgm:presLayoutVars>
      </dgm:prSet>
      <dgm:spPr/>
    </dgm:pt>
    <dgm:pt modelId="{9396E2C7-844D-4CC0-9F68-4357429F89BF}" type="pres">
      <dgm:prSet presAssocID="{A0D4E7A4-3117-4723-AAF3-8936E6B80F33}" presName="horFlow" presStyleCnt="0"/>
      <dgm:spPr/>
    </dgm:pt>
    <dgm:pt modelId="{81B6DA4E-BFB9-43D6-AF7A-AEDE000EE248}" type="pres">
      <dgm:prSet presAssocID="{A0D4E7A4-3117-4723-AAF3-8936E6B80F33}" presName="bigChev" presStyleLbl="node1" presStyleIdx="0" presStyleCnt="3"/>
      <dgm:spPr/>
    </dgm:pt>
    <dgm:pt modelId="{D19B867F-F50F-4C70-8508-500D3527C665}" type="pres">
      <dgm:prSet presAssocID="{3812E649-201B-4DFF-8BBC-01B4BBC59472}" presName="parTrans" presStyleCnt="0"/>
      <dgm:spPr/>
    </dgm:pt>
    <dgm:pt modelId="{69A3F573-828B-4DB7-9CCF-884EA63CCE92}" type="pres">
      <dgm:prSet presAssocID="{017DC130-9F90-46B9-BC95-6B4655F98326}" presName="node" presStyleLbl="alignAccFollowNode1" presStyleIdx="0" presStyleCnt="7">
        <dgm:presLayoutVars>
          <dgm:bulletEnabled val="1"/>
        </dgm:presLayoutVars>
      </dgm:prSet>
      <dgm:spPr/>
    </dgm:pt>
    <dgm:pt modelId="{0206FF33-B79E-4336-BD64-329B9BD269A0}" type="pres">
      <dgm:prSet presAssocID="{CC58E277-C8D2-4919-914C-61D9B04D7FA7}" presName="sibTrans" presStyleCnt="0"/>
      <dgm:spPr/>
    </dgm:pt>
    <dgm:pt modelId="{A66BEFC1-E304-4612-B5D9-747AB98866B1}" type="pres">
      <dgm:prSet presAssocID="{1E8B09AA-4CC9-487B-B16A-6BDBDBFF1448}" presName="node" presStyleLbl="alignAccFollowNode1" presStyleIdx="1" presStyleCnt="7" custScaleX="179088">
        <dgm:presLayoutVars>
          <dgm:bulletEnabled val="1"/>
        </dgm:presLayoutVars>
      </dgm:prSet>
      <dgm:spPr/>
    </dgm:pt>
    <dgm:pt modelId="{2B03031B-DEE1-43C6-B247-6312ED180B11}" type="pres">
      <dgm:prSet presAssocID="{A0D4E7A4-3117-4723-AAF3-8936E6B80F33}" presName="vSp" presStyleCnt="0"/>
      <dgm:spPr/>
    </dgm:pt>
    <dgm:pt modelId="{D3E44863-7289-4C7F-A5F9-3F338DEA58F3}" type="pres">
      <dgm:prSet presAssocID="{DD004FB2-A568-4C30-AA6F-36014AE077F5}" presName="horFlow" presStyleCnt="0"/>
      <dgm:spPr/>
    </dgm:pt>
    <dgm:pt modelId="{60962599-610D-41A6-A308-3C61676FA10F}" type="pres">
      <dgm:prSet presAssocID="{DD004FB2-A568-4C30-AA6F-36014AE077F5}" presName="bigChev" presStyleLbl="node1" presStyleIdx="1" presStyleCnt="3"/>
      <dgm:spPr/>
    </dgm:pt>
    <dgm:pt modelId="{7B006ADB-7AD9-4CA9-AB29-0B37917A63E6}" type="pres">
      <dgm:prSet presAssocID="{3702912D-5439-43E2-989F-EE84A8E59696}" presName="parTrans" presStyleCnt="0"/>
      <dgm:spPr/>
    </dgm:pt>
    <dgm:pt modelId="{40C493D5-84C5-414A-B25E-F0516F30F1DB}" type="pres">
      <dgm:prSet presAssocID="{3D132738-1FFB-47B6-A01C-0E0BA5C84AF4}" presName="node" presStyleLbl="alignAccFollowNode1" presStyleIdx="2" presStyleCnt="7">
        <dgm:presLayoutVars>
          <dgm:bulletEnabled val="1"/>
        </dgm:presLayoutVars>
      </dgm:prSet>
      <dgm:spPr/>
    </dgm:pt>
    <dgm:pt modelId="{F5C0DCC4-DF73-4790-9CF8-ACC7AEF01C85}" type="pres">
      <dgm:prSet presAssocID="{09C5895F-1864-4560-A785-C2AF1169DC22}" presName="sibTrans" presStyleCnt="0"/>
      <dgm:spPr/>
    </dgm:pt>
    <dgm:pt modelId="{E4E686C1-FC9F-4B2F-8F63-DDC471B0DEB4}" type="pres">
      <dgm:prSet presAssocID="{7F435329-FBED-4AA4-A84F-70D9E9A80178}" presName="node" presStyleLbl="alignAccFollowNode1" presStyleIdx="3" presStyleCnt="7" custScaleX="183164">
        <dgm:presLayoutVars>
          <dgm:bulletEnabled val="1"/>
        </dgm:presLayoutVars>
      </dgm:prSet>
      <dgm:spPr/>
    </dgm:pt>
    <dgm:pt modelId="{02C85D75-F0CF-4656-9A04-F9D649821F56}" type="pres">
      <dgm:prSet presAssocID="{DD004FB2-A568-4C30-AA6F-36014AE077F5}" presName="vSp" presStyleCnt="0"/>
      <dgm:spPr/>
    </dgm:pt>
    <dgm:pt modelId="{A5B46316-F840-4195-86CF-FCB8623A496A}" type="pres">
      <dgm:prSet presAssocID="{80CD9FC5-84A2-4119-AE4E-1AD6DC2A6A90}" presName="horFlow" presStyleCnt="0"/>
      <dgm:spPr/>
    </dgm:pt>
    <dgm:pt modelId="{5D5075C0-CF76-44AB-9B25-E029186A86C7}" type="pres">
      <dgm:prSet presAssocID="{80CD9FC5-84A2-4119-AE4E-1AD6DC2A6A90}" presName="bigChev" presStyleLbl="node1" presStyleIdx="2" presStyleCnt="3"/>
      <dgm:spPr/>
    </dgm:pt>
    <dgm:pt modelId="{A535F8AE-7CBE-4C20-8A04-B0949F1BDC20}" type="pres">
      <dgm:prSet presAssocID="{EE4A0166-5E04-4EBC-AF62-E44395844E0C}" presName="parTrans" presStyleCnt="0"/>
      <dgm:spPr/>
    </dgm:pt>
    <dgm:pt modelId="{DBA3233D-396D-4828-ABB1-05C8FA826E94}" type="pres">
      <dgm:prSet presAssocID="{04184E62-4203-4EBA-846A-647E12EDFE7B}" presName="node" presStyleLbl="alignAccFollowNode1" presStyleIdx="4" presStyleCnt="7" custScaleX="86985">
        <dgm:presLayoutVars>
          <dgm:bulletEnabled val="1"/>
        </dgm:presLayoutVars>
      </dgm:prSet>
      <dgm:spPr/>
    </dgm:pt>
    <dgm:pt modelId="{5767BAFD-75A5-43CA-B5AA-360BDD57BF97}" type="pres">
      <dgm:prSet presAssocID="{2F6FE8A9-DA40-4FAB-B60D-059693FD4BA0}" presName="sibTrans" presStyleCnt="0"/>
      <dgm:spPr/>
    </dgm:pt>
    <dgm:pt modelId="{4507A95F-1518-44E3-95D0-73A0EC79E6E5}" type="pres">
      <dgm:prSet presAssocID="{27331272-1A14-4E80-B031-5AA5C5A02FFF}" presName="node" presStyleLbl="alignAccFollowNode1" presStyleIdx="5" presStyleCnt="7" custScaleX="83282">
        <dgm:presLayoutVars>
          <dgm:bulletEnabled val="1"/>
        </dgm:presLayoutVars>
      </dgm:prSet>
      <dgm:spPr/>
    </dgm:pt>
    <dgm:pt modelId="{0EC2BE38-4523-4232-97BE-604EF5DE0027}" type="pres">
      <dgm:prSet presAssocID="{D141C3BC-F34D-4A2E-BCBE-2D15C984B647}" presName="sibTrans" presStyleCnt="0"/>
      <dgm:spPr/>
    </dgm:pt>
    <dgm:pt modelId="{D8BA990C-EEA2-4E44-B076-9170393433C7}" type="pres">
      <dgm:prSet presAssocID="{8987D20E-A147-4A43-925C-44077CAB82FE}" presName="node" presStyleLbl="alignAccFollowNode1" presStyleIdx="6" presStyleCnt="7" custScaleX="134560">
        <dgm:presLayoutVars>
          <dgm:bulletEnabled val="1"/>
        </dgm:presLayoutVars>
      </dgm:prSet>
      <dgm:spPr/>
    </dgm:pt>
  </dgm:ptLst>
  <dgm:cxnLst>
    <dgm:cxn modelId="{02016008-E2EE-4DE1-804D-9CEC1ED6AB2D}" type="presOf" srcId="{8987D20E-A147-4A43-925C-44077CAB82FE}" destId="{D8BA990C-EEA2-4E44-B076-9170393433C7}" srcOrd="0" destOrd="0" presId="urn:microsoft.com/office/officeart/2005/8/layout/lProcess3"/>
    <dgm:cxn modelId="{BDAB7910-D8FD-4EDE-8D8E-E497F8B527B6}" type="presOf" srcId="{017DC130-9F90-46B9-BC95-6B4655F98326}" destId="{69A3F573-828B-4DB7-9CCF-884EA63CCE92}" srcOrd="0" destOrd="0" presId="urn:microsoft.com/office/officeart/2005/8/layout/lProcess3"/>
    <dgm:cxn modelId="{B712C632-1056-4BFA-8C71-58049149EE79}" srcId="{DD004FB2-A568-4C30-AA6F-36014AE077F5}" destId="{3D132738-1FFB-47B6-A01C-0E0BA5C84AF4}" srcOrd="0" destOrd="0" parTransId="{3702912D-5439-43E2-989F-EE84A8E59696}" sibTransId="{09C5895F-1864-4560-A785-C2AF1169DC22}"/>
    <dgm:cxn modelId="{4EE57D38-1E02-4DDA-A22C-B6F91958A8EC}" type="presOf" srcId="{CE31CE2D-52AD-47EE-9F57-FF0C2AB9FBB8}" destId="{1AC9F623-2B54-4F8A-831B-0CFEB8F285F0}" srcOrd="0" destOrd="0" presId="urn:microsoft.com/office/officeart/2005/8/layout/lProcess3"/>
    <dgm:cxn modelId="{ADC9AB42-FB46-4B34-A6AC-B9F6F9CF4382}" type="presOf" srcId="{1E8B09AA-4CC9-487B-B16A-6BDBDBFF1448}" destId="{A66BEFC1-E304-4612-B5D9-747AB98866B1}" srcOrd="0" destOrd="0" presId="urn:microsoft.com/office/officeart/2005/8/layout/lProcess3"/>
    <dgm:cxn modelId="{3E189249-B51E-4CE4-A1B6-4178EBF15B98}" srcId="{CE31CE2D-52AD-47EE-9F57-FF0C2AB9FBB8}" destId="{DD004FB2-A568-4C30-AA6F-36014AE077F5}" srcOrd="1" destOrd="0" parTransId="{8A748206-AA4B-4343-A7F9-8E20175B63BD}" sibTransId="{27591AC4-CF58-4301-ADC8-138FE74B6235}"/>
    <dgm:cxn modelId="{EE9E9E4D-E9D0-4DF0-BDDB-06881D93649A}" srcId="{80CD9FC5-84A2-4119-AE4E-1AD6DC2A6A90}" destId="{04184E62-4203-4EBA-846A-647E12EDFE7B}" srcOrd="0" destOrd="0" parTransId="{EE4A0166-5E04-4EBC-AF62-E44395844E0C}" sibTransId="{2F6FE8A9-DA40-4FAB-B60D-059693FD4BA0}"/>
    <dgm:cxn modelId="{EFD93375-6B85-4531-B658-65EBE50D7D0C}" srcId="{DD004FB2-A568-4C30-AA6F-36014AE077F5}" destId="{7F435329-FBED-4AA4-A84F-70D9E9A80178}" srcOrd="1" destOrd="0" parTransId="{E566D771-E43F-4068-844B-AB66BDDEF978}" sibTransId="{351D4B12-ACDB-4DE6-B3B8-871BA24FF0AB}"/>
    <dgm:cxn modelId="{B4FCBD76-7A47-43C1-973A-9B43A1A74391}" srcId="{80CD9FC5-84A2-4119-AE4E-1AD6DC2A6A90}" destId="{8987D20E-A147-4A43-925C-44077CAB82FE}" srcOrd="2" destOrd="0" parTransId="{6B30D2D7-0E76-4EA4-99EE-94C6A94F841A}" sibTransId="{C80FE73F-A6EA-4A5F-96ED-9CDBAFEA26D0}"/>
    <dgm:cxn modelId="{82D4537A-1D2B-4DC4-85FA-12FA56B5F801}" type="presOf" srcId="{DD004FB2-A568-4C30-AA6F-36014AE077F5}" destId="{60962599-610D-41A6-A308-3C61676FA10F}" srcOrd="0" destOrd="0" presId="urn:microsoft.com/office/officeart/2005/8/layout/lProcess3"/>
    <dgm:cxn modelId="{64137987-E82E-4069-A81F-55C7272FD118}" type="presOf" srcId="{27331272-1A14-4E80-B031-5AA5C5A02FFF}" destId="{4507A95F-1518-44E3-95D0-73A0EC79E6E5}" srcOrd="0" destOrd="0" presId="urn:microsoft.com/office/officeart/2005/8/layout/lProcess3"/>
    <dgm:cxn modelId="{39F82B8C-D17B-433D-B04B-C5189620BE03}" type="presOf" srcId="{7F435329-FBED-4AA4-A84F-70D9E9A80178}" destId="{E4E686C1-FC9F-4B2F-8F63-DDC471B0DEB4}" srcOrd="0" destOrd="0" presId="urn:microsoft.com/office/officeart/2005/8/layout/lProcess3"/>
    <dgm:cxn modelId="{3ECA6895-47D3-481A-9ADA-955DE7944A3F}" srcId="{A0D4E7A4-3117-4723-AAF3-8936E6B80F33}" destId="{1E8B09AA-4CC9-487B-B16A-6BDBDBFF1448}" srcOrd="1" destOrd="0" parTransId="{572F0438-E305-46A2-B41D-50C346A5F61B}" sibTransId="{486899FC-F27C-4EF0-8E11-85A0FAF30A1F}"/>
    <dgm:cxn modelId="{49DE3DA2-09E1-4714-93B6-2DD2D749A3C6}" srcId="{80CD9FC5-84A2-4119-AE4E-1AD6DC2A6A90}" destId="{27331272-1A14-4E80-B031-5AA5C5A02FFF}" srcOrd="1" destOrd="0" parTransId="{122F1A91-902B-46B9-8338-EF09B86B28D2}" sibTransId="{D141C3BC-F34D-4A2E-BCBE-2D15C984B647}"/>
    <dgm:cxn modelId="{0D8676A2-7019-48BB-B9C9-37F63CB7F3BD}" type="presOf" srcId="{A0D4E7A4-3117-4723-AAF3-8936E6B80F33}" destId="{81B6DA4E-BFB9-43D6-AF7A-AEDE000EE248}" srcOrd="0" destOrd="0" presId="urn:microsoft.com/office/officeart/2005/8/layout/lProcess3"/>
    <dgm:cxn modelId="{5E59A7AB-CE34-464C-B6A2-AF34995932B4}" srcId="{CE31CE2D-52AD-47EE-9F57-FF0C2AB9FBB8}" destId="{A0D4E7A4-3117-4723-AAF3-8936E6B80F33}" srcOrd="0" destOrd="0" parTransId="{03EBEDE4-5DB2-4ECC-B6FB-1004FF9F36BC}" sibTransId="{7A8CEC07-3094-400E-A904-2790BC6396A7}"/>
    <dgm:cxn modelId="{534CC6BE-90D0-4D02-B30B-52CCFBC6D2C9}" type="presOf" srcId="{80CD9FC5-84A2-4119-AE4E-1AD6DC2A6A90}" destId="{5D5075C0-CF76-44AB-9B25-E029186A86C7}" srcOrd="0" destOrd="0" presId="urn:microsoft.com/office/officeart/2005/8/layout/lProcess3"/>
    <dgm:cxn modelId="{E68F7CC1-5E40-4B73-9C2C-E5F65863BEDD}" type="presOf" srcId="{04184E62-4203-4EBA-846A-647E12EDFE7B}" destId="{DBA3233D-396D-4828-ABB1-05C8FA826E94}" srcOrd="0" destOrd="0" presId="urn:microsoft.com/office/officeart/2005/8/layout/lProcess3"/>
    <dgm:cxn modelId="{6795C9E4-6439-4AED-8F87-57DCF0542CEC}" srcId="{CE31CE2D-52AD-47EE-9F57-FF0C2AB9FBB8}" destId="{80CD9FC5-84A2-4119-AE4E-1AD6DC2A6A90}" srcOrd="2" destOrd="0" parTransId="{44C892A4-16B5-4D15-B018-7008CEF3E344}" sibTransId="{DD32E8B5-4713-4832-9F58-63A206E397CB}"/>
    <dgm:cxn modelId="{511E4CF6-5811-40F7-A02D-75BFF4F1BF21}" srcId="{A0D4E7A4-3117-4723-AAF3-8936E6B80F33}" destId="{017DC130-9F90-46B9-BC95-6B4655F98326}" srcOrd="0" destOrd="0" parTransId="{3812E649-201B-4DFF-8BBC-01B4BBC59472}" sibTransId="{CC58E277-C8D2-4919-914C-61D9B04D7FA7}"/>
    <dgm:cxn modelId="{9FC0ACFA-D330-4375-9CA9-354007310AFE}" type="presOf" srcId="{3D132738-1FFB-47B6-A01C-0E0BA5C84AF4}" destId="{40C493D5-84C5-414A-B25E-F0516F30F1DB}" srcOrd="0" destOrd="0" presId="urn:microsoft.com/office/officeart/2005/8/layout/lProcess3"/>
    <dgm:cxn modelId="{286FB61C-3FB2-4BBA-9BB4-0FB1C7771D35}" type="presParOf" srcId="{1AC9F623-2B54-4F8A-831B-0CFEB8F285F0}" destId="{9396E2C7-844D-4CC0-9F68-4357429F89BF}" srcOrd="0" destOrd="0" presId="urn:microsoft.com/office/officeart/2005/8/layout/lProcess3"/>
    <dgm:cxn modelId="{3408CAD6-42C0-4BC6-A89A-13DAF9FF005D}" type="presParOf" srcId="{9396E2C7-844D-4CC0-9F68-4357429F89BF}" destId="{81B6DA4E-BFB9-43D6-AF7A-AEDE000EE248}" srcOrd="0" destOrd="0" presId="urn:microsoft.com/office/officeart/2005/8/layout/lProcess3"/>
    <dgm:cxn modelId="{E3D1A304-79BA-4FB8-ACEB-C08BDFAA9A49}" type="presParOf" srcId="{9396E2C7-844D-4CC0-9F68-4357429F89BF}" destId="{D19B867F-F50F-4C70-8508-500D3527C665}" srcOrd="1" destOrd="0" presId="urn:microsoft.com/office/officeart/2005/8/layout/lProcess3"/>
    <dgm:cxn modelId="{776A7AB7-713C-4705-B165-2692F1FD4796}" type="presParOf" srcId="{9396E2C7-844D-4CC0-9F68-4357429F89BF}" destId="{69A3F573-828B-4DB7-9CCF-884EA63CCE92}" srcOrd="2" destOrd="0" presId="urn:microsoft.com/office/officeart/2005/8/layout/lProcess3"/>
    <dgm:cxn modelId="{0512F1D8-A445-4762-8A40-111D90851181}" type="presParOf" srcId="{9396E2C7-844D-4CC0-9F68-4357429F89BF}" destId="{0206FF33-B79E-4336-BD64-329B9BD269A0}" srcOrd="3" destOrd="0" presId="urn:microsoft.com/office/officeart/2005/8/layout/lProcess3"/>
    <dgm:cxn modelId="{AE716D97-499E-459C-9F98-4B623DE22CDD}" type="presParOf" srcId="{9396E2C7-844D-4CC0-9F68-4357429F89BF}" destId="{A66BEFC1-E304-4612-B5D9-747AB98866B1}" srcOrd="4" destOrd="0" presId="urn:microsoft.com/office/officeart/2005/8/layout/lProcess3"/>
    <dgm:cxn modelId="{423A4B8A-3518-4FED-999B-3F4664D1DDDE}" type="presParOf" srcId="{1AC9F623-2B54-4F8A-831B-0CFEB8F285F0}" destId="{2B03031B-DEE1-43C6-B247-6312ED180B11}" srcOrd="1" destOrd="0" presId="urn:microsoft.com/office/officeart/2005/8/layout/lProcess3"/>
    <dgm:cxn modelId="{CBAB0D97-2A22-4C71-9572-FFD19F505868}" type="presParOf" srcId="{1AC9F623-2B54-4F8A-831B-0CFEB8F285F0}" destId="{D3E44863-7289-4C7F-A5F9-3F338DEA58F3}" srcOrd="2" destOrd="0" presId="urn:microsoft.com/office/officeart/2005/8/layout/lProcess3"/>
    <dgm:cxn modelId="{726E8719-CD64-4FEE-912D-0C78AF99FA09}" type="presParOf" srcId="{D3E44863-7289-4C7F-A5F9-3F338DEA58F3}" destId="{60962599-610D-41A6-A308-3C61676FA10F}" srcOrd="0" destOrd="0" presId="urn:microsoft.com/office/officeart/2005/8/layout/lProcess3"/>
    <dgm:cxn modelId="{75529053-E374-4F72-92E1-CAA6A514D937}" type="presParOf" srcId="{D3E44863-7289-4C7F-A5F9-3F338DEA58F3}" destId="{7B006ADB-7AD9-4CA9-AB29-0B37917A63E6}" srcOrd="1" destOrd="0" presId="urn:microsoft.com/office/officeart/2005/8/layout/lProcess3"/>
    <dgm:cxn modelId="{FCF6E24C-C812-455F-AF3D-DF29D0FA77B1}" type="presParOf" srcId="{D3E44863-7289-4C7F-A5F9-3F338DEA58F3}" destId="{40C493D5-84C5-414A-B25E-F0516F30F1DB}" srcOrd="2" destOrd="0" presId="urn:microsoft.com/office/officeart/2005/8/layout/lProcess3"/>
    <dgm:cxn modelId="{1539827A-4D92-479D-A433-689063AED2E7}" type="presParOf" srcId="{D3E44863-7289-4C7F-A5F9-3F338DEA58F3}" destId="{F5C0DCC4-DF73-4790-9CF8-ACC7AEF01C85}" srcOrd="3" destOrd="0" presId="urn:microsoft.com/office/officeart/2005/8/layout/lProcess3"/>
    <dgm:cxn modelId="{EAFA3150-B40E-4AD9-B304-EACC67AC6986}" type="presParOf" srcId="{D3E44863-7289-4C7F-A5F9-3F338DEA58F3}" destId="{E4E686C1-FC9F-4B2F-8F63-DDC471B0DEB4}" srcOrd="4" destOrd="0" presId="urn:microsoft.com/office/officeart/2005/8/layout/lProcess3"/>
    <dgm:cxn modelId="{E4D7968D-80F9-42E6-B2A7-0BD52A871463}" type="presParOf" srcId="{1AC9F623-2B54-4F8A-831B-0CFEB8F285F0}" destId="{02C85D75-F0CF-4656-9A04-F9D649821F56}" srcOrd="3" destOrd="0" presId="urn:microsoft.com/office/officeart/2005/8/layout/lProcess3"/>
    <dgm:cxn modelId="{C69E2E52-FD9C-473D-8954-1D42EEEA6C9D}" type="presParOf" srcId="{1AC9F623-2B54-4F8A-831B-0CFEB8F285F0}" destId="{A5B46316-F840-4195-86CF-FCB8623A496A}" srcOrd="4" destOrd="0" presId="urn:microsoft.com/office/officeart/2005/8/layout/lProcess3"/>
    <dgm:cxn modelId="{B94B1DFE-E295-4FD7-AA9C-DA8B54510B6A}" type="presParOf" srcId="{A5B46316-F840-4195-86CF-FCB8623A496A}" destId="{5D5075C0-CF76-44AB-9B25-E029186A86C7}" srcOrd="0" destOrd="0" presId="urn:microsoft.com/office/officeart/2005/8/layout/lProcess3"/>
    <dgm:cxn modelId="{F53B7BB6-ED74-48EA-8AC9-81D1938227F6}" type="presParOf" srcId="{A5B46316-F840-4195-86CF-FCB8623A496A}" destId="{A535F8AE-7CBE-4C20-8A04-B0949F1BDC20}" srcOrd="1" destOrd="0" presId="urn:microsoft.com/office/officeart/2005/8/layout/lProcess3"/>
    <dgm:cxn modelId="{25EFE1F9-8145-4DCD-8C22-C0773BF8430C}" type="presParOf" srcId="{A5B46316-F840-4195-86CF-FCB8623A496A}" destId="{DBA3233D-396D-4828-ABB1-05C8FA826E94}" srcOrd="2" destOrd="0" presId="urn:microsoft.com/office/officeart/2005/8/layout/lProcess3"/>
    <dgm:cxn modelId="{BA1979BE-AEEE-4651-9711-05D522321162}" type="presParOf" srcId="{A5B46316-F840-4195-86CF-FCB8623A496A}" destId="{5767BAFD-75A5-43CA-B5AA-360BDD57BF97}" srcOrd="3" destOrd="0" presId="urn:microsoft.com/office/officeart/2005/8/layout/lProcess3"/>
    <dgm:cxn modelId="{180428B1-40E1-4BE1-97BE-36B5B9FC0DA1}" type="presParOf" srcId="{A5B46316-F840-4195-86CF-FCB8623A496A}" destId="{4507A95F-1518-44E3-95D0-73A0EC79E6E5}" srcOrd="4" destOrd="0" presId="urn:microsoft.com/office/officeart/2005/8/layout/lProcess3"/>
    <dgm:cxn modelId="{A905ABE8-1EFD-4C93-9FE5-0ED762320C8C}" type="presParOf" srcId="{A5B46316-F840-4195-86CF-FCB8623A496A}" destId="{0EC2BE38-4523-4232-97BE-604EF5DE0027}" srcOrd="5" destOrd="0" presId="urn:microsoft.com/office/officeart/2005/8/layout/lProcess3"/>
    <dgm:cxn modelId="{CA980183-8DC9-4BB9-AFB7-E657DDD9CF42}" type="presParOf" srcId="{A5B46316-F840-4195-86CF-FCB8623A496A}" destId="{D8BA990C-EEA2-4E44-B076-9170393433C7}"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F36647C-5324-4D08-BDB9-3E9B48F20DD1}" type="doc">
      <dgm:prSet loTypeId="urn:microsoft.com/office/officeart/2017/3/layout/DropPinTimeline" loCatId="process" qsTypeId="urn:microsoft.com/office/officeart/2005/8/quickstyle/simple1" qsCatId="simple" csTypeId="urn:microsoft.com/office/officeart/2005/8/colors/colorful1" csCatId="colorful" phldr="1"/>
      <dgm:spPr/>
      <dgm:t>
        <a:bodyPr/>
        <a:lstStyle/>
        <a:p>
          <a:endParaRPr lang="en-US"/>
        </a:p>
      </dgm:t>
    </dgm:pt>
    <dgm:pt modelId="{888DC0D2-4444-40D9-B858-BFDAA4CDF353}">
      <dgm:prSet/>
      <dgm:spPr/>
      <dgm:t>
        <a:bodyPr/>
        <a:lstStyle/>
        <a:p>
          <a:pPr>
            <a:defRPr b="1"/>
          </a:pPr>
          <a:r>
            <a:rPr lang="en-US"/>
            <a:t>January</a:t>
          </a:r>
        </a:p>
      </dgm:t>
    </dgm:pt>
    <dgm:pt modelId="{60EC43F8-DA40-49EB-BE0E-26C4F395A32F}" type="parTrans" cxnId="{3F45C7ED-0090-4AEE-94EB-07E2C9AD936C}">
      <dgm:prSet/>
      <dgm:spPr/>
      <dgm:t>
        <a:bodyPr/>
        <a:lstStyle/>
        <a:p>
          <a:endParaRPr lang="en-US"/>
        </a:p>
      </dgm:t>
    </dgm:pt>
    <dgm:pt modelId="{4EEDA2CB-0EF6-42B3-B5C1-B63D1AE6F3BD}" type="sibTrans" cxnId="{3F45C7ED-0090-4AEE-94EB-07E2C9AD936C}">
      <dgm:prSet/>
      <dgm:spPr/>
      <dgm:t>
        <a:bodyPr/>
        <a:lstStyle/>
        <a:p>
          <a:endParaRPr lang="en-US"/>
        </a:p>
      </dgm:t>
    </dgm:pt>
    <dgm:pt modelId="{35F31090-FA02-4466-AFB5-87B6DF07BCD7}">
      <dgm:prSet/>
      <dgm:spPr/>
      <dgm:t>
        <a:bodyPr/>
        <a:lstStyle/>
        <a:p>
          <a:r>
            <a:rPr lang="en-US"/>
            <a:t>Equitable and Respectful Care Education and Implementation</a:t>
          </a:r>
        </a:p>
      </dgm:t>
    </dgm:pt>
    <dgm:pt modelId="{02A6F90A-4E5E-47CC-991A-2BAB3C5B6268}" type="parTrans" cxnId="{EFA22CE1-2C52-470A-9938-CD484B2EA0F6}">
      <dgm:prSet/>
      <dgm:spPr/>
      <dgm:t>
        <a:bodyPr/>
        <a:lstStyle/>
        <a:p>
          <a:endParaRPr lang="en-US"/>
        </a:p>
      </dgm:t>
    </dgm:pt>
    <dgm:pt modelId="{F084EB43-00FB-414A-AD2A-3F7880D78FB6}" type="sibTrans" cxnId="{EFA22CE1-2C52-470A-9938-CD484B2EA0F6}">
      <dgm:prSet/>
      <dgm:spPr/>
      <dgm:t>
        <a:bodyPr/>
        <a:lstStyle/>
        <a:p>
          <a:endParaRPr lang="en-US"/>
        </a:p>
      </dgm:t>
    </dgm:pt>
    <dgm:pt modelId="{71889293-8C1F-4AD7-B68C-3FE0C7D16B13}">
      <dgm:prSet/>
      <dgm:spPr/>
      <dgm:t>
        <a:bodyPr/>
        <a:lstStyle/>
        <a:p>
          <a:pPr>
            <a:defRPr b="1"/>
          </a:pPr>
          <a:r>
            <a:rPr lang="en-US"/>
            <a:t>February</a:t>
          </a:r>
        </a:p>
      </dgm:t>
    </dgm:pt>
    <dgm:pt modelId="{FDAA98F7-80E5-459E-B1FE-A3F0CB591E6B}" type="parTrans" cxnId="{D1029826-F304-40AB-8A45-E110812DD908}">
      <dgm:prSet/>
      <dgm:spPr/>
      <dgm:t>
        <a:bodyPr/>
        <a:lstStyle/>
        <a:p>
          <a:endParaRPr lang="en-US"/>
        </a:p>
      </dgm:t>
    </dgm:pt>
    <dgm:pt modelId="{704D613E-FC16-44F7-BE3D-38E429095BE1}" type="sibTrans" cxnId="{D1029826-F304-40AB-8A45-E110812DD908}">
      <dgm:prSet/>
      <dgm:spPr/>
      <dgm:t>
        <a:bodyPr/>
        <a:lstStyle/>
        <a:p>
          <a:endParaRPr lang="en-US"/>
        </a:p>
      </dgm:t>
    </dgm:pt>
    <dgm:pt modelId="{CD7881FF-A15F-410F-B09D-1E890C99EC42}">
      <dgm:prSet/>
      <dgm:spPr/>
      <dgm:t>
        <a:bodyPr/>
        <a:lstStyle/>
        <a:p>
          <a:r>
            <a:rPr lang="en-US"/>
            <a:t>Equitable and Respectful Care Education and Implementation Part 2</a:t>
          </a:r>
        </a:p>
      </dgm:t>
    </dgm:pt>
    <dgm:pt modelId="{E5D9AAA8-90BA-4237-8261-FCC83548659B}" type="parTrans" cxnId="{BAADE26F-6135-4A42-861F-8734B5021E8C}">
      <dgm:prSet/>
      <dgm:spPr/>
      <dgm:t>
        <a:bodyPr/>
        <a:lstStyle/>
        <a:p>
          <a:endParaRPr lang="en-US"/>
        </a:p>
      </dgm:t>
    </dgm:pt>
    <dgm:pt modelId="{6AF0B477-E943-470E-9479-F3363B74625A}" type="sibTrans" cxnId="{BAADE26F-6135-4A42-861F-8734B5021E8C}">
      <dgm:prSet/>
      <dgm:spPr/>
      <dgm:t>
        <a:bodyPr/>
        <a:lstStyle/>
        <a:p>
          <a:endParaRPr lang="en-US"/>
        </a:p>
      </dgm:t>
    </dgm:pt>
    <dgm:pt modelId="{782B7E6D-275E-44FE-B64E-CF4DCB18CE03}">
      <dgm:prSet/>
      <dgm:spPr/>
      <dgm:t>
        <a:bodyPr/>
        <a:lstStyle/>
        <a:p>
          <a:pPr>
            <a:defRPr b="1"/>
          </a:pPr>
          <a:r>
            <a:rPr lang="en-US"/>
            <a:t>March</a:t>
          </a:r>
        </a:p>
      </dgm:t>
    </dgm:pt>
    <dgm:pt modelId="{7E3DD2C2-FCF7-483B-BBFA-964A0E2EAC0C}" type="parTrans" cxnId="{8DCA5369-4987-4395-B577-3F77808A3F83}">
      <dgm:prSet/>
      <dgm:spPr/>
      <dgm:t>
        <a:bodyPr/>
        <a:lstStyle/>
        <a:p>
          <a:endParaRPr lang="en-US"/>
        </a:p>
      </dgm:t>
    </dgm:pt>
    <dgm:pt modelId="{7A44FBB3-0697-4CC5-A841-27A346413981}" type="sibTrans" cxnId="{8DCA5369-4987-4395-B577-3F77808A3F83}">
      <dgm:prSet/>
      <dgm:spPr/>
      <dgm:t>
        <a:bodyPr/>
        <a:lstStyle/>
        <a:p>
          <a:endParaRPr lang="en-US"/>
        </a:p>
      </dgm:t>
    </dgm:pt>
    <dgm:pt modelId="{3941DDB8-F743-41AB-B193-8BE13A9EBF36}">
      <dgm:prSet/>
      <dgm:spPr/>
      <dgm:t>
        <a:bodyPr/>
        <a:lstStyle/>
        <a:p>
          <a:r>
            <a:rPr lang="en-US"/>
            <a:t>Safe Sleep Environment Education and Implementation</a:t>
          </a:r>
        </a:p>
      </dgm:t>
    </dgm:pt>
    <dgm:pt modelId="{58428392-E344-41F5-84FA-76EEA50DA237}" type="parTrans" cxnId="{F4F8E7B3-B5C3-4ADE-A4BF-BF9089E937FD}">
      <dgm:prSet/>
      <dgm:spPr/>
      <dgm:t>
        <a:bodyPr/>
        <a:lstStyle/>
        <a:p>
          <a:endParaRPr lang="en-US"/>
        </a:p>
      </dgm:t>
    </dgm:pt>
    <dgm:pt modelId="{6DEDE53F-E007-4201-94B1-14C6431F9A09}" type="sibTrans" cxnId="{F4F8E7B3-B5C3-4ADE-A4BF-BF9089E937FD}">
      <dgm:prSet/>
      <dgm:spPr/>
      <dgm:t>
        <a:bodyPr/>
        <a:lstStyle/>
        <a:p>
          <a:endParaRPr lang="en-US"/>
        </a:p>
      </dgm:t>
    </dgm:pt>
    <dgm:pt modelId="{08572C69-19EE-42C6-BA4D-603CD7F3307B}">
      <dgm:prSet/>
      <dgm:spPr/>
      <dgm:t>
        <a:bodyPr/>
        <a:lstStyle/>
        <a:p>
          <a:pPr>
            <a:defRPr b="1"/>
          </a:pPr>
          <a:r>
            <a:rPr lang="en-US"/>
            <a:t>April</a:t>
          </a:r>
        </a:p>
      </dgm:t>
    </dgm:pt>
    <dgm:pt modelId="{F36C70AE-C5E9-45FD-B03D-266D24EF552D}" type="parTrans" cxnId="{C7566451-E4E4-4666-9F97-113B57CFD5DA}">
      <dgm:prSet/>
      <dgm:spPr/>
      <dgm:t>
        <a:bodyPr/>
        <a:lstStyle/>
        <a:p>
          <a:endParaRPr lang="en-US"/>
        </a:p>
      </dgm:t>
    </dgm:pt>
    <dgm:pt modelId="{82A263F1-86DA-4665-B566-AA56CDF4A9BB}" type="sibTrans" cxnId="{C7566451-E4E4-4666-9F97-113B57CFD5DA}">
      <dgm:prSet/>
      <dgm:spPr/>
      <dgm:t>
        <a:bodyPr/>
        <a:lstStyle/>
        <a:p>
          <a:endParaRPr lang="en-US"/>
        </a:p>
      </dgm:t>
    </dgm:pt>
    <dgm:pt modelId="{788A36FF-269B-4055-95FF-3C5324B20379}">
      <dgm:prSet/>
      <dgm:spPr/>
      <dgm:t>
        <a:bodyPr/>
        <a:lstStyle/>
        <a:p>
          <a:r>
            <a:rPr lang="en-US"/>
            <a:t>Policy Review (AAP Safe Sleep Guidelines and reviewing polices with an equity lens) </a:t>
          </a:r>
        </a:p>
      </dgm:t>
    </dgm:pt>
    <dgm:pt modelId="{CCA24C21-3B1C-402F-8FDC-C2B89962FAF9}" type="parTrans" cxnId="{6679F8F8-4DD6-45EF-A5D8-9725BB126DC4}">
      <dgm:prSet/>
      <dgm:spPr/>
      <dgm:t>
        <a:bodyPr/>
        <a:lstStyle/>
        <a:p>
          <a:endParaRPr lang="en-US"/>
        </a:p>
      </dgm:t>
    </dgm:pt>
    <dgm:pt modelId="{C51466E5-D8D4-4B32-8450-8F1E54EA0DC1}" type="sibTrans" cxnId="{6679F8F8-4DD6-45EF-A5D8-9725BB126DC4}">
      <dgm:prSet/>
      <dgm:spPr/>
      <dgm:t>
        <a:bodyPr/>
        <a:lstStyle/>
        <a:p>
          <a:endParaRPr lang="en-US"/>
        </a:p>
      </dgm:t>
    </dgm:pt>
    <dgm:pt modelId="{9DACF67C-F2C7-4BB0-891B-22735034EE56}">
      <dgm:prSet/>
      <dgm:spPr/>
      <dgm:t>
        <a:bodyPr/>
        <a:lstStyle/>
        <a:p>
          <a:pPr>
            <a:defRPr b="1"/>
          </a:pPr>
          <a:r>
            <a:rPr lang="en-US"/>
            <a:t>May</a:t>
          </a:r>
        </a:p>
      </dgm:t>
    </dgm:pt>
    <dgm:pt modelId="{7F53CC57-155F-4B0C-BC49-1CD3FA3AA2D3}" type="parTrans" cxnId="{69545631-356E-4F19-BD8D-26C6F2396ED8}">
      <dgm:prSet/>
      <dgm:spPr/>
      <dgm:t>
        <a:bodyPr/>
        <a:lstStyle/>
        <a:p>
          <a:endParaRPr lang="en-US"/>
        </a:p>
      </dgm:t>
    </dgm:pt>
    <dgm:pt modelId="{67BA471E-783A-4701-8B8C-A920C9849F32}" type="sibTrans" cxnId="{69545631-356E-4F19-BD8D-26C6F2396ED8}">
      <dgm:prSet/>
      <dgm:spPr/>
      <dgm:t>
        <a:bodyPr/>
        <a:lstStyle/>
        <a:p>
          <a:endParaRPr lang="en-US"/>
        </a:p>
      </dgm:t>
    </dgm:pt>
    <dgm:pt modelId="{B883083D-8218-49D7-A828-1ECC3C14D9E4}">
      <dgm:prSet/>
      <dgm:spPr/>
      <dgm:t>
        <a:bodyPr/>
        <a:lstStyle/>
        <a:p>
          <a:r>
            <a:rPr lang="en-US"/>
            <a:t>2024 Face-to-Face Meeting in Springfield IL</a:t>
          </a:r>
        </a:p>
      </dgm:t>
    </dgm:pt>
    <dgm:pt modelId="{3085840A-FC05-43FB-9035-4E3F090482CE}" type="parTrans" cxnId="{C1C5D9CF-DAC4-4058-A2FB-83924AE08BCC}">
      <dgm:prSet/>
      <dgm:spPr/>
      <dgm:t>
        <a:bodyPr/>
        <a:lstStyle/>
        <a:p>
          <a:endParaRPr lang="en-US"/>
        </a:p>
      </dgm:t>
    </dgm:pt>
    <dgm:pt modelId="{B0152FBA-F1BA-4B09-9920-901A87904351}" type="sibTrans" cxnId="{C1C5D9CF-DAC4-4058-A2FB-83924AE08BCC}">
      <dgm:prSet/>
      <dgm:spPr/>
      <dgm:t>
        <a:bodyPr/>
        <a:lstStyle/>
        <a:p>
          <a:endParaRPr lang="en-US"/>
        </a:p>
      </dgm:t>
    </dgm:pt>
    <dgm:pt modelId="{A2E3FFE0-9999-4268-8734-DB850753F80D}">
      <dgm:prSet/>
      <dgm:spPr/>
      <dgm:t>
        <a:bodyPr/>
        <a:lstStyle/>
        <a:p>
          <a:pPr>
            <a:defRPr b="1"/>
          </a:pPr>
          <a:r>
            <a:rPr lang="en-US"/>
            <a:t>June</a:t>
          </a:r>
        </a:p>
      </dgm:t>
    </dgm:pt>
    <dgm:pt modelId="{6361E677-9F3D-4A4A-99E9-7CE7A5F01E13}" type="parTrans" cxnId="{65F80EA2-5680-4228-9825-E3CDA1171EEC}">
      <dgm:prSet/>
      <dgm:spPr/>
      <dgm:t>
        <a:bodyPr/>
        <a:lstStyle/>
        <a:p>
          <a:endParaRPr lang="en-US"/>
        </a:p>
      </dgm:t>
    </dgm:pt>
    <dgm:pt modelId="{25EAF25B-BEF4-4F4D-B2AD-CA7A1C39F772}" type="sibTrans" cxnId="{65F80EA2-5680-4228-9825-E3CDA1171EEC}">
      <dgm:prSet/>
      <dgm:spPr/>
      <dgm:t>
        <a:bodyPr/>
        <a:lstStyle/>
        <a:p>
          <a:endParaRPr lang="en-US"/>
        </a:p>
      </dgm:t>
    </dgm:pt>
    <dgm:pt modelId="{DCC8DE00-82BC-4FE7-898C-EE46322F74A2}">
      <dgm:prSet/>
      <dgm:spPr/>
      <dgm:t>
        <a:bodyPr/>
        <a:lstStyle/>
        <a:p>
          <a:r>
            <a:rPr lang="en-US"/>
            <a:t>Use qualified interpreters and provide information in multiple languages </a:t>
          </a:r>
        </a:p>
      </dgm:t>
    </dgm:pt>
    <dgm:pt modelId="{3CB8E035-6D16-4AC8-8498-BC3E5C909FD4}" type="parTrans" cxnId="{9CCC6C1C-B34E-4BF8-A441-D8690429EEE2}">
      <dgm:prSet/>
      <dgm:spPr/>
      <dgm:t>
        <a:bodyPr/>
        <a:lstStyle/>
        <a:p>
          <a:endParaRPr lang="en-US"/>
        </a:p>
      </dgm:t>
    </dgm:pt>
    <dgm:pt modelId="{15991261-2B68-4B79-B15A-381A2449504C}" type="sibTrans" cxnId="{9CCC6C1C-B34E-4BF8-A441-D8690429EEE2}">
      <dgm:prSet/>
      <dgm:spPr/>
      <dgm:t>
        <a:bodyPr/>
        <a:lstStyle/>
        <a:p>
          <a:endParaRPr lang="en-US"/>
        </a:p>
      </dgm:t>
    </dgm:pt>
    <dgm:pt modelId="{1BECC204-0B33-4492-B18F-BFFE0A1C4F24}" type="pres">
      <dgm:prSet presAssocID="{FF36647C-5324-4D08-BDB9-3E9B48F20DD1}" presName="root" presStyleCnt="0">
        <dgm:presLayoutVars>
          <dgm:chMax/>
          <dgm:chPref/>
          <dgm:animLvl val="lvl"/>
        </dgm:presLayoutVars>
      </dgm:prSet>
      <dgm:spPr/>
    </dgm:pt>
    <dgm:pt modelId="{3348F4B1-7F5F-4A53-A952-22DBCA5BB3EC}" type="pres">
      <dgm:prSet presAssocID="{FF36647C-5324-4D08-BDB9-3E9B48F20DD1}" presName="divider" presStyleLbl="fgAcc1" presStyleIdx="0" presStyleCnt="7"/>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0AA2C8D3-19FD-4BCC-B35D-CCF603F7C82D}" type="pres">
      <dgm:prSet presAssocID="{FF36647C-5324-4D08-BDB9-3E9B48F20DD1}" presName="nodes" presStyleCnt="0">
        <dgm:presLayoutVars>
          <dgm:chMax/>
          <dgm:chPref/>
          <dgm:animLvl val="lvl"/>
        </dgm:presLayoutVars>
      </dgm:prSet>
      <dgm:spPr/>
    </dgm:pt>
    <dgm:pt modelId="{7647DCFA-31EF-4955-B48B-77294C2049C0}" type="pres">
      <dgm:prSet presAssocID="{888DC0D2-4444-40D9-B858-BFDAA4CDF353}" presName="composite" presStyleCnt="0"/>
      <dgm:spPr/>
    </dgm:pt>
    <dgm:pt modelId="{D22A234F-1E9D-4969-A922-A19F09F4C458}" type="pres">
      <dgm:prSet presAssocID="{888DC0D2-4444-40D9-B858-BFDAA4CDF353}" presName="ConnectorPoint" presStyleLbl="lnNode1" presStyleIdx="0"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94BEF26-121F-48B4-9A3A-6B5F50F65E99}" type="pres">
      <dgm:prSet presAssocID="{888DC0D2-4444-40D9-B858-BFDAA4CDF353}" presName="DropPinPlaceHolder" presStyleCnt="0"/>
      <dgm:spPr/>
    </dgm:pt>
    <dgm:pt modelId="{A9511F33-CA42-4152-A4A1-9DD03A2021F8}" type="pres">
      <dgm:prSet presAssocID="{888DC0D2-4444-40D9-B858-BFDAA4CDF353}" presName="DropPin" presStyleLbl="alignNode1" presStyleIdx="0" presStyleCnt="6"/>
      <dgm:spPr/>
    </dgm:pt>
    <dgm:pt modelId="{68D7ED5E-FB27-42A2-AA5A-D2F167CAF615}" type="pres">
      <dgm:prSet presAssocID="{888DC0D2-4444-40D9-B858-BFDAA4CDF353}" presName="Ellipse" presStyleLbl="fgAcc1" presStyleIdx="1" presStyleCnt="7"/>
      <dgm:spPr>
        <a:solidFill>
          <a:schemeClr val="lt1">
            <a:alpha val="90000"/>
            <a:hueOff val="0"/>
            <a:satOff val="0"/>
            <a:lumOff val="0"/>
            <a:alphaOff val="0"/>
          </a:schemeClr>
        </a:solidFill>
        <a:ln w="12700" cap="flat" cmpd="sng" algn="ctr">
          <a:noFill/>
          <a:prstDash val="solid"/>
          <a:miter lim="800000"/>
        </a:ln>
        <a:effectLst/>
      </dgm:spPr>
    </dgm:pt>
    <dgm:pt modelId="{FCFABF29-6938-49B1-A567-2C728891E9CA}" type="pres">
      <dgm:prSet presAssocID="{888DC0D2-4444-40D9-B858-BFDAA4CDF353}" presName="L2TextContainer" presStyleLbl="revTx" presStyleIdx="0" presStyleCnt="12">
        <dgm:presLayoutVars>
          <dgm:bulletEnabled val="1"/>
        </dgm:presLayoutVars>
      </dgm:prSet>
      <dgm:spPr/>
    </dgm:pt>
    <dgm:pt modelId="{9645BC26-64C3-4BAD-BB69-975CFA0A023B}" type="pres">
      <dgm:prSet presAssocID="{888DC0D2-4444-40D9-B858-BFDAA4CDF353}" presName="L1TextContainer" presStyleLbl="revTx" presStyleIdx="1" presStyleCnt="12">
        <dgm:presLayoutVars>
          <dgm:chMax val="1"/>
          <dgm:chPref val="1"/>
          <dgm:bulletEnabled val="1"/>
        </dgm:presLayoutVars>
      </dgm:prSet>
      <dgm:spPr/>
    </dgm:pt>
    <dgm:pt modelId="{0878A462-46B3-4B25-9268-DE75AAAA8082}" type="pres">
      <dgm:prSet presAssocID="{888DC0D2-4444-40D9-B858-BFDAA4CDF353}" presName="ConnectLine" presStyleLbl="sibTrans1D1" presStyleIdx="0" presStyleCnt="6"/>
      <dgm:spPr>
        <a:noFill/>
        <a:ln w="12700" cap="flat" cmpd="sng" algn="ctr">
          <a:solidFill>
            <a:schemeClr val="accent2">
              <a:hueOff val="0"/>
              <a:satOff val="0"/>
              <a:lumOff val="0"/>
              <a:alphaOff val="0"/>
            </a:schemeClr>
          </a:solidFill>
          <a:prstDash val="dash"/>
          <a:miter lim="800000"/>
        </a:ln>
        <a:effectLst/>
      </dgm:spPr>
    </dgm:pt>
    <dgm:pt modelId="{AA4F517A-B97A-4D6D-A03F-37D75BFB37CD}" type="pres">
      <dgm:prSet presAssocID="{888DC0D2-4444-40D9-B858-BFDAA4CDF353}" presName="EmptyPlaceHolder" presStyleCnt="0"/>
      <dgm:spPr/>
    </dgm:pt>
    <dgm:pt modelId="{839A820A-31DA-4797-8204-7F7EF9F5555F}" type="pres">
      <dgm:prSet presAssocID="{4EEDA2CB-0EF6-42B3-B5C1-B63D1AE6F3BD}" presName="spaceBetweenRectangles" presStyleCnt="0"/>
      <dgm:spPr/>
    </dgm:pt>
    <dgm:pt modelId="{8C66825A-5B96-44A4-805E-158B893449C4}" type="pres">
      <dgm:prSet presAssocID="{71889293-8C1F-4AD7-B68C-3FE0C7D16B13}" presName="composite" presStyleCnt="0"/>
      <dgm:spPr/>
    </dgm:pt>
    <dgm:pt modelId="{9D2E5EF5-7EEC-4C17-8531-A7A2D99FD415}" type="pres">
      <dgm:prSet presAssocID="{71889293-8C1F-4AD7-B68C-3FE0C7D16B13}" presName="ConnectorPoint" presStyleLbl="lnNode1" presStyleIdx="1" presStyleCnt="6"/>
      <dgm:spPr>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73D0FEF-32C2-487B-9F98-8494D9AF969D}" type="pres">
      <dgm:prSet presAssocID="{71889293-8C1F-4AD7-B68C-3FE0C7D16B13}" presName="DropPinPlaceHolder" presStyleCnt="0"/>
      <dgm:spPr/>
    </dgm:pt>
    <dgm:pt modelId="{A75CD570-BD88-4B9C-A3F3-94C8F8344772}" type="pres">
      <dgm:prSet presAssocID="{71889293-8C1F-4AD7-B68C-3FE0C7D16B13}" presName="DropPin" presStyleLbl="alignNode1" presStyleIdx="1" presStyleCnt="6"/>
      <dgm:spPr/>
    </dgm:pt>
    <dgm:pt modelId="{302517CD-6564-4F8E-8536-A67BF33B4069}" type="pres">
      <dgm:prSet presAssocID="{71889293-8C1F-4AD7-B68C-3FE0C7D16B13}" presName="Ellipse" presStyleLbl="fgAcc1" presStyleIdx="2" presStyleCnt="7"/>
      <dgm:spPr>
        <a:solidFill>
          <a:schemeClr val="lt1">
            <a:alpha val="90000"/>
            <a:hueOff val="0"/>
            <a:satOff val="0"/>
            <a:lumOff val="0"/>
            <a:alphaOff val="0"/>
          </a:schemeClr>
        </a:solidFill>
        <a:ln w="12700" cap="flat" cmpd="sng" algn="ctr">
          <a:noFill/>
          <a:prstDash val="solid"/>
          <a:miter lim="800000"/>
        </a:ln>
        <a:effectLst/>
      </dgm:spPr>
    </dgm:pt>
    <dgm:pt modelId="{F8BF2188-6BF4-47CB-ACB2-C7EBAAA124D8}" type="pres">
      <dgm:prSet presAssocID="{71889293-8C1F-4AD7-B68C-3FE0C7D16B13}" presName="L2TextContainer" presStyleLbl="revTx" presStyleIdx="2" presStyleCnt="12">
        <dgm:presLayoutVars>
          <dgm:bulletEnabled val="1"/>
        </dgm:presLayoutVars>
      </dgm:prSet>
      <dgm:spPr/>
    </dgm:pt>
    <dgm:pt modelId="{D0934DA1-1A1E-4382-BFE9-4832C18E047F}" type="pres">
      <dgm:prSet presAssocID="{71889293-8C1F-4AD7-B68C-3FE0C7D16B13}" presName="L1TextContainer" presStyleLbl="revTx" presStyleIdx="3" presStyleCnt="12">
        <dgm:presLayoutVars>
          <dgm:chMax val="1"/>
          <dgm:chPref val="1"/>
          <dgm:bulletEnabled val="1"/>
        </dgm:presLayoutVars>
      </dgm:prSet>
      <dgm:spPr/>
    </dgm:pt>
    <dgm:pt modelId="{FC6D5085-BC9A-425C-9655-F4EAAB9422C6}" type="pres">
      <dgm:prSet presAssocID="{71889293-8C1F-4AD7-B68C-3FE0C7D16B13}" presName="ConnectLine" presStyleLbl="sibTrans1D1" presStyleIdx="1" presStyleCnt="6"/>
      <dgm:spPr>
        <a:noFill/>
        <a:ln w="12700" cap="flat" cmpd="sng" algn="ctr">
          <a:solidFill>
            <a:schemeClr val="accent3">
              <a:hueOff val="0"/>
              <a:satOff val="0"/>
              <a:lumOff val="0"/>
              <a:alphaOff val="0"/>
            </a:schemeClr>
          </a:solidFill>
          <a:prstDash val="dash"/>
          <a:miter lim="800000"/>
        </a:ln>
        <a:effectLst/>
      </dgm:spPr>
    </dgm:pt>
    <dgm:pt modelId="{7CFA46A4-9BD6-49D6-94DC-1AE13D5F412E}" type="pres">
      <dgm:prSet presAssocID="{71889293-8C1F-4AD7-B68C-3FE0C7D16B13}" presName="EmptyPlaceHolder" presStyleCnt="0"/>
      <dgm:spPr/>
    </dgm:pt>
    <dgm:pt modelId="{9B67900B-CDC5-49D7-8DC9-8FE2E33D3D7E}" type="pres">
      <dgm:prSet presAssocID="{704D613E-FC16-44F7-BE3D-38E429095BE1}" presName="spaceBetweenRectangles" presStyleCnt="0"/>
      <dgm:spPr/>
    </dgm:pt>
    <dgm:pt modelId="{3D4DFCF6-A2AE-4455-8EA6-7F92B134DC1A}" type="pres">
      <dgm:prSet presAssocID="{782B7E6D-275E-44FE-B64E-CF4DCB18CE03}" presName="composite" presStyleCnt="0"/>
      <dgm:spPr/>
    </dgm:pt>
    <dgm:pt modelId="{CC3026BE-E675-4141-8C6B-877C71AFCD1B}" type="pres">
      <dgm:prSet presAssocID="{782B7E6D-275E-44FE-B64E-CF4DCB18CE03}" presName="ConnectorPoint" presStyleLbl="lnNode1" presStyleIdx="2" presStyleCnt="6"/>
      <dgm:spPr>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3AF1427C-042E-4DCE-B899-4E00DBD112C1}" type="pres">
      <dgm:prSet presAssocID="{782B7E6D-275E-44FE-B64E-CF4DCB18CE03}" presName="DropPinPlaceHolder" presStyleCnt="0"/>
      <dgm:spPr/>
    </dgm:pt>
    <dgm:pt modelId="{03390ACF-8941-4B21-81FE-E24DE182F400}" type="pres">
      <dgm:prSet presAssocID="{782B7E6D-275E-44FE-B64E-CF4DCB18CE03}" presName="DropPin" presStyleLbl="alignNode1" presStyleIdx="2" presStyleCnt="6"/>
      <dgm:spPr/>
    </dgm:pt>
    <dgm:pt modelId="{43CE6054-7DA9-41CA-A822-B5AEFEF9A36D}" type="pres">
      <dgm:prSet presAssocID="{782B7E6D-275E-44FE-B64E-CF4DCB18CE03}" presName="Ellipse" presStyleLbl="fgAcc1" presStyleIdx="3" presStyleCnt="7"/>
      <dgm:spPr>
        <a:solidFill>
          <a:schemeClr val="lt1">
            <a:alpha val="90000"/>
            <a:hueOff val="0"/>
            <a:satOff val="0"/>
            <a:lumOff val="0"/>
            <a:alphaOff val="0"/>
          </a:schemeClr>
        </a:solidFill>
        <a:ln w="12700" cap="flat" cmpd="sng" algn="ctr">
          <a:noFill/>
          <a:prstDash val="solid"/>
          <a:miter lim="800000"/>
        </a:ln>
        <a:effectLst/>
      </dgm:spPr>
    </dgm:pt>
    <dgm:pt modelId="{BE565CC8-066C-44C8-A00D-95B6F78719F0}" type="pres">
      <dgm:prSet presAssocID="{782B7E6D-275E-44FE-B64E-CF4DCB18CE03}" presName="L2TextContainer" presStyleLbl="revTx" presStyleIdx="4" presStyleCnt="12">
        <dgm:presLayoutVars>
          <dgm:bulletEnabled val="1"/>
        </dgm:presLayoutVars>
      </dgm:prSet>
      <dgm:spPr/>
    </dgm:pt>
    <dgm:pt modelId="{4183CEC0-935A-410C-86C6-DD5A3092D739}" type="pres">
      <dgm:prSet presAssocID="{782B7E6D-275E-44FE-B64E-CF4DCB18CE03}" presName="L1TextContainer" presStyleLbl="revTx" presStyleIdx="5" presStyleCnt="12">
        <dgm:presLayoutVars>
          <dgm:chMax val="1"/>
          <dgm:chPref val="1"/>
          <dgm:bulletEnabled val="1"/>
        </dgm:presLayoutVars>
      </dgm:prSet>
      <dgm:spPr/>
    </dgm:pt>
    <dgm:pt modelId="{8C47003B-F241-4006-92DC-837EB791561B}" type="pres">
      <dgm:prSet presAssocID="{782B7E6D-275E-44FE-B64E-CF4DCB18CE03}" presName="ConnectLine" presStyleLbl="sibTrans1D1" presStyleIdx="2" presStyleCnt="6"/>
      <dgm:spPr>
        <a:noFill/>
        <a:ln w="12700" cap="flat" cmpd="sng" algn="ctr">
          <a:solidFill>
            <a:schemeClr val="accent4">
              <a:hueOff val="0"/>
              <a:satOff val="0"/>
              <a:lumOff val="0"/>
              <a:alphaOff val="0"/>
            </a:schemeClr>
          </a:solidFill>
          <a:prstDash val="dash"/>
          <a:miter lim="800000"/>
        </a:ln>
        <a:effectLst/>
      </dgm:spPr>
    </dgm:pt>
    <dgm:pt modelId="{984F423D-ECA1-4D55-B1B0-2AD397FD43B9}" type="pres">
      <dgm:prSet presAssocID="{782B7E6D-275E-44FE-B64E-CF4DCB18CE03}" presName="EmptyPlaceHolder" presStyleCnt="0"/>
      <dgm:spPr/>
    </dgm:pt>
    <dgm:pt modelId="{C4A8F019-51C6-4150-A9A3-7778464D4D9A}" type="pres">
      <dgm:prSet presAssocID="{7A44FBB3-0697-4CC5-A841-27A346413981}" presName="spaceBetweenRectangles" presStyleCnt="0"/>
      <dgm:spPr/>
    </dgm:pt>
    <dgm:pt modelId="{1627D70B-BA61-4CFB-8CD9-DFD6FD208DB8}" type="pres">
      <dgm:prSet presAssocID="{08572C69-19EE-42C6-BA4D-603CD7F3307B}" presName="composite" presStyleCnt="0"/>
      <dgm:spPr/>
    </dgm:pt>
    <dgm:pt modelId="{C04AE90F-AC95-43B5-B942-8D97C0918650}" type="pres">
      <dgm:prSet presAssocID="{08572C69-19EE-42C6-BA4D-603CD7F3307B}" presName="ConnectorPoint" presStyleLbl="lnNode1" presStyleIdx="3" presStyleCnt="6"/>
      <dgm:spPr>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A375F317-579E-4A58-B1AE-3DB841CCE3C7}" type="pres">
      <dgm:prSet presAssocID="{08572C69-19EE-42C6-BA4D-603CD7F3307B}" presName="DropPinPlaceHolder" presStyleCnt="0"/>
      <dgm:spPr/>
    </dgm:pt>
    <dgm:pt modelId="{6667F50D-D88C-4B95-A4A3-18B9756C037C}" type="pres">
      <dgm:prSet presAssocID="{08572C69-19EE-42C6-BA4D-603CD7F3307B}" presName="DropPin" presStyleLbl="alignNode1" presStyleIdx="3" presStyleCnt="6"/>
      <dgm:spPr/>
    </dgm:pt>
    <dgm:pt modelId="{CE1B5BCF-E41F-44D1-B630-6887D15A7398}" type="pres">
      <dgm:prSet presAssocID="{08572C69-19EE-42C6-BA4D-603CD7F3307B}" presName="Ellipse" presStyleLbl="fgAcc1" presStyleIdx="4" presStyleCnt="7"/>
      <dgm:spPr>
        <a:solidFill>
          <a:schemeClr val="lt1">
            <a:alpha val="90000"/>
            <a:hueOff val="0"/>
            <a:satOff val="0"/>
            <a:lumOff val="0"/>
            <a:alphaOff val="0"/>
          </a:schemeClr>
        </a:solidFill>
        <a:ln w="12700" cap="flat" cmpd="sng" algn="ctr">
          <a:noFill/>
          <a:prstDash val="solid"/>
          <a:miter lim="800000"/>
        </a:ln>
        <a:effectLst/>
      </dgm:spPr>
    </dgm:pt>
    <dgm:pt modelId="{B0EAA9EE-7BD3-411E-86E5-2BA99352C26E}" type="pres">
      <dgm:prSet presAssocID="{08572C69-19EE-42C6-BA4D-603CD7F3307B}" presName="L2TextContainer" presStyleLbl="revTx" presStyleIdx="6" presStyleCnt="12">
        <dgm:presLayoutVars>
          <dgm:bulletEnabled val="1"/>
        </dgm:presLayoutVars>
      </dgm:prSet>
      <dgm:spPr/>
    </dgm:pt>
    <dgm:pt modelId="{2FB1246F-9AFE-48AF-BDF2-C0001E8CE969}" type="pres">
      <dgm:prSet presAssocID="{08572C69-19EE-42C6-BA4D-603CD7F3307B}" presName="L1TextContainer" presStyleLbl="revTx" presStyleIdx="7" presStyleCnt="12">
        <dgm:presLayoutVars>
          <dgm:chMax val="1"/>
          <dgm:chPref val="1"/>
          <dgm:bulletEnabled val="1"/>
        </dgm:presLayoutVars>
      </dgm:prSet>
      <dgm:spPr/>
    </dgm:pt>
    <dgm:pt modelId="{60A486CB-3970-483A-B450-0DD424E81EA2}" type="pres">
      <dgm:prSet presAssocID="{08572C69-19EE-42C6-BA4D-603CD7F3307B}" presName="ConnectLine" presStyleLbl="sibTrans1D1" presStyleIdx="3" presStyleCnt="6"/>
      <dgm:spPr>
        <a:noFill/>
        <a:ln w="12700" cap="flat" cmpd="sng" algn="ctr">
          <a:solidFill>
            <a:schemeClr val="accent5">
              <a:hueOff val="0"/>
              <a:satOff val="0"/>
              <a:lumOff val="0"/>
              <a:alphaOff val="0"/>
            </a:schemeClr>
          </a:solidFill>
          <a:prstDash val="dash"/>
          <a:miter lim="800000"/>
        </a:ln>
        <a:effectLst/>
      </dgm:spPr>
    </dgm:pt>
    <dgm:pt modelId="{41F339AF-F68F-4A37-BAD3-4D68C1C35319}" type="pres">
      <dgm:prSet presAssocID="{08572C69-19EE-42C6-BA4D-603CD7F3307B}" presName="EmptyPlaceHolder" presStyleCnt="0"/>
      <dgm:spPr/>
    </dgm:pt>
    <dgm:pt modelId="{679765CD-0C4C-4A20-81BD-17500EDE937C}" type="pres">
      <dgm:prSet presAssocID="{82A263F1-86DA-4665-B566-AA56CDF4A9BB}" presName="spaceBetweenRectangles" presStyleCnt="0"/>
      <dgm:spPr/>
    </dgm:pt>
    <dgm:pt modelId="{10FB814B-C4E0-4046-964B-836A7400F5D5}" type="pres">
      <dgm:prSet presAssocID="{9DACF67C-F2C7-4BB0-891B-22735034EE56}" presName="composite" presStyleCnt="0"/>
      <dgm:spPr/>
    </dgm:pt>
    <dgm:pt modelId="{88C9072A-7971-4C81-9C00-3C768C49DB68}" type="pres">
      <dgm:prSet presAssocID="{9DACF67C-F2C7-4BB0-891B-22735034EE56}" presName="ConnectorPoint" presStyleLbl="lnNode1" presStyleIdx="4" presStyleCnt="6"/>
      <dgm:spPr>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27A16FE5-37BD-43C7-A92B-586DC7330561}" type="pres">
      <dgm:prSet presAssocID="{9DACF67C-F2C7-4BB0-891B-22735034EE56}" presName="DropPinPlaceHolder" presStyleCnt="0"/>
      <dgm:spPr/>
    </dgm:pt>
    <dgm:pt modelId="{F5D614B9-A401-4908-A5B6-5C785767B12A}" type="pres">
      <dgm:prSet presAssocID="{9DACF67C-F2C7-4BB0-891B-22735034EE56}" presName="DropPin" presStyleLbl="alignNode1" presStyleIdx="4" presStyleCnt="6"/>
      <dgm:spPr/>
    </dgm:pt>
    <dgm:pt modelId="{A10E4821-9E9D-43D5-AF7E-3658E3CCA6D9}" type="pres">
      <dgm:prSet presAssocID="{9DACF67C-F2C7-4BB0-891B-22735034EE56}" presName="Ellipse" presStyleLbl="fgAcc1" presStyleIdx="5" presStyleCnt="7"/>
      <dgm:spPr>
        <a:solidFill>
          <a:schemeClr val="lt1">
            <a:alpha val="90000"/>
            <a:hueOff val="0"/>
            <a:satOff val="0"/>
            <a:lumOff val="0"/>
            <a:alphaOff val="0"/>
          </a:schemeClr>
        </a:solidFill>
        <a:ln w="12700" cap="flat" cmpd="sng" algn="ctr">
          <a:noFill/>
          <a:prstDash val="solid"/>
          <a:miter lim="800000"/>
        </a:ln>
        <a:effectLst/>
      </dgm:spPr>
    </dgm:pt>
    <dgm:pt modelId="{2A9B991F-842F-4129-B41A-36744D0D1DAF}" type="pres">
      <dgm:prSet presAssocID="{9DACF67C-F2C7-4BB0-891B-22735034EE56}" presName="L2TextContainer" presStyleLbl="revTx" presStyleIdx="8" presStyleCnt="12">
        <dgm:presLayoutVars>
          <dgm:bulletEnabled val="1"/>
        </dgm:presLayoutVars>
      </dgm:prSet>
      <dgm:spPr/>
    </dgm:pt>
    <dgm:pt modelId="{B37425C6-3D26-4CCF-BFF5-FB031B76BCAC}" type="pres">
      <dgm:prSet presAssocID="{9DACF67C-F2C7-4BB0-891B-22735034EE56}" presName="L1TextContainer" presStyleLbl="revTx" presStyleIdx="9" presStyleCnt="12">
        <dgm:presLayoutVars>
          <dgm:chMax val="1"/>
          <dgm:chPref val="1"/>
          <dgm:bulletEnabled val="1"/>
        </dgm:presLayoutVars>
      </dgm:prSet>
      <dgm:spPr/>
    </dgm:pt>
    <dgm:pt modelId="{24B3BAC8-22E0-488C-8C7D-45D0A71DFCF1}" type="pres">
      <dgm:prSet presAssocID="{9DACF67C-F2C7-4BB0-891B-22735034EE56}" presName="ConnectLine" presStyleLbl="sibTrans1D1" presStyleIdx="4" presStyleCnt="6"/>
      <dgm:spPr>
        <a:noFill/>
        <a:ln w="12700" cap="flat" cmpd="sng" algn="ctr">
          <a:solidFill>
            <a:schemeClr val="accent6">
              <a:hueOff val="0"/>
              <a:satOff val="0"/>
              <a:lumOff val="0"/>
              <a:alphaOff val="0"/>
            </a:schemeClr>
          </a:solidFill>
          <a:prstDash val="dash"/>
          <a:miter lim="800000"/>
        </a:ln>
        <a:effectLst/>
      </dgm:spPr>
    </dgm:pt>
    <dgm:pt modelId="{95BF1A3A-B469-4681-8F9B-30A2EC4CF281}" type="pres">
      <dgm:prSet presAssocID="{9DACF67C-F2C7-4BB0-891B-22735034EE56}" presName="EmptyPlaceHolder" presStyleCnt="0"/>
      <dgm:spPr/>
    </dgm:pt>
    <dgm:pt modelId="{EDD7BCFB-0E64-4494-BD88-9777C3C7D089}" type="pres">
      <dgm:prSet presAssocID="{67BA471E-783A-4701-8B8C-A920C9849F32}" presName="spaceBetweenRectangles" presStyleCnt="0"/>
      <dgm:spPr/>
    </dgm:pt>
    <dgm:pt modelId="{92191D19-5F0F-4055-9F4E-7E513F5CFF20}" type="pres">
      <dgm:prSet presAssocID="{A2E3FFE0-9999-4268-8734-DB850753F80D}" presName="composite" presStyleCnt="0"/>
      <dgm:spPr/>
    </dgm:pt>
    <dgm:pt modelId="{D6764629-0256-43E9-9304-2A75162A40BD}" type="pres">
      <dgm:prSet presAssocID="{A2E3FFE0-9999-4268-8734-DB850753F80D}" presName="ConnectorPoint" presStyleLbl="lnNode1" presStyleIdx="5"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D489A80B-9845-44E3-A5A9-CAA0CC15D7F5}" type="pres">
      <dgm:prSet presAssocID="{A2E3FFE0-9999-4268-8734-DB850753F80D}" presName="DropPinPlaceHolder" presStyleCnt="0"/>
      <dgm:spPr/>
    </dgm:pt>
    <dgm:pt modelId="{16327667-BB9F-4AE2-9DE4-614AFF9D570E}" type="pres">
      <dgm:prSet presAssocID="{A2E3FFE0-9999-4268-8734-DB850753F80D}" presName="DropPin" presStyleLbl="alignNode1" presStyleIdx="5" presStyleCnt="6"/>
      <dgm:spPr/>
    </dgm:pt>
    <dgm:pt modelId="{CFD18D11-A7C8-47E9-81DA-B44E1399082D}" type="pres">
      <dgm:prSet presAssocID="{A2E3FFE0-9999-4268-8734-DB850753F80D}" presName="Ellipse" presStyleLbl="fgAcc1" presStyleIdx="6" presStyleCnt="7"/>
      <dgm:spPr>
        <a:solidFill>
          <a:schemeClr val="lt1">
            <a:alpha val="90000"/>
            <a:hueOff val="0"/>
            <a:satOff val="0"/>
            <a:lumOff val="0"/>
            <a:alphaOff val="0"/>
          </a:schemeClr>
        </a:solidFill>
        <a:ln w="12700" cap="flat" cmpd="sng" algn="ctr">
          <a:noFill/>
          <a:prstDash val="solid"/>
          <a:miter lim="800000"/>
        </a:ln>
        <a:effectLst/>
      </dgm:spPr>
    </dgm:pt>
    <dgm:pt modelId="{E2E86E62-E1D6-4BA3-9A6E-0EE2F5195A9B}" type="pres">
      <dgm:prSet presAssocID="{A2E3FFE0-9999-4268-8734-DB850753F80D}" presName="L2TextContainer" presStyleLbl="revTx" presStyleIdx="10" presStyleCnt="12">
        <dgm:presLayoutVars>
          <dgm:bulletEnabled val="1"/>
        </dgm:presLayoutVars>
      </dgm:prSet>
      <dgm:spPr/>
    </dgm:pt>
    <dgm:pt modelId="{E0F79C68-0658-4690-ABBE-75BF5D6FB4CE}" type="pres">
      <dgm:prSet presAssocID="{A2E3FFE0-9999-4268-8734-DB850753F80D}" presName="L1TextContainer" presStyleLbl="revTx" presStyleIdx="11" presStyleCnt="12">
        <dgm:presLayoutVars>
          <dgm:chMax val="1"/>
          <dgm:chPref val="1"/>
          <dgm:bulletEnabled val="1"/>
        </dgm:presLayoutVars>
      </dgm:prSet>
      <dgm:spPr/>
    </dgm:pt>
    <dgm:pt modelId="{E26F8033-47B9-4A2F-AFA4-759D63C0F3B1}" type="pres">
      <dgm:prSet presAssocID="{A2E3FFE0-9999-4268-8734-DB850753F80D}" presName="ConnectLine" presStyleLbl="sibTrans1D1" presStyleIdx="5" presStyleCnt="6"/>
      <dgm:spPr>
        <a:noFill/>
        <a:ln w="12700" cap="flat" cmpd="sng" algn="ctr">
          <a:solidFill>
            <a:schemeClr val="accent2">
              <a:hueOff val="0"/>
              <a:satOff val="0"/>
              <a:lumOff val="0"/>
              <a:alphaOff val="0"/>
            </a:schemeClr>
          </a:solidFill>
          <a:prstDash val="dash"/>
          <a:miter lim="800000"/>
        </a:ln>
        <a:effectLst/>
      </dgm:spPr>
    </dgm:pt>
    <dgm:pt modelId="{800EC29A-42C8-4740-A31D-95BA171F815F}" type="pres">
      <dgm:prSet presAssocID="{A2E3FFE0-9999-4268-8734-DB850753F80D}" presName="EmptyPlaceHolder" presStyleCnt="0"/>
      <dgm:spPr/>
    </dgm:pt>
  </dgm:ptLst>
  <dgm:cxnLst>
    <dgm:cxn modelId="{94473607-AF6F-47DA-A9AA-9286961CC0E8}" type="presOf" srcId="{782B7E6D-275E-44FE-B64E-CF4DCB18CE03}" destId="{4183CEC0-935A-410C-86C6-DD5A3092D739}" srcOrd="0" destOrd="0" presId="urn:microsoft.com/office/officeart/2017/3/layout/DropPinTimeline"/>
    <dgm:cxn modelId="{C55CE314-DBFC-4A66-90C4-D00FD0AD26FD}" type="presOf" srcId="{B883083D-8218-49D7-A828-1ECC3C14D9E4}" destId="{2A9B991F-842F-4129-B41A-36744D0D1DAF}" srcOrd="0" destOrd="0" presId="urn:microsoft.com/office/officeart/2017/3/layout/DropPinTimeline"/>
    <dgm:cxn modelId="{9CCC6C1C-B34E-4BF8-A441-D8690429EEE2}" srcId="{A2E3FFE0-9999-4268-8734-DB850753F80D}" destId="{DCC8DE00-82BC-4FE7-898C-EE46322F74A2}" srcOrd="0" destOrd="0" parTransId="{3CB8E035-6D16-4AC8-8498-BC3E5C909FD4}" sibTransId="{15991261-2B68-4B79-B15A-381A2449504C}"/>
    <dgm:cxn modelId="{D1029826-F304-40AB-8A45-E110812DD908}" srcId="{FF36647C-5324-4D08-BDB9-3E9B48F20DD1}" destId="{71889293-8C1F-4AD7-B68C-3FE0C7D16B13}" srcOrd="1" destOrd="0" parTransId="{FDAA98F7-80E5-459E-B1FE-A3F0CB591E6B}" sibTransId="{704D613E-FC16-44F7-BE3D-38E429095BE1}"/>
    <dgm:cxn modelId="{69545631-356E-4F19-BD8D-26C6F2396ED8}" srcId="{FF36647C-5324-4D08-BDB9-3E9B48F20DD1}" destId="{9DACF67C-F2C7-4BB0-891B-22735034EE56}" srcOrd="4" destOrd="0" parTransId="{7F53CC57-155F-4B0C-BC49-1CD3FA3AA2D3}" sibTransId="{67BA471E-783A-4701-8B8C-A920C9849F32}"/>
    <dgm:cxn modelId="{DEFE3E44-B52F-4216-A2F0-DF5907C6D1D3}" type="presOf" srcId="{A2E3FFE0-9999-4268-8734-DB850753F80D}" destId="{E0F79C68-0658-4690-ABBE-75BF5D6FB4CE}" srcOrd="0" destOrd="0" presId="urn:microsoft.com/office/officeart/2017/3/layout/DropPinTimeline"/>
    <dgm:cxn modelId="{8DCA5369-4987-4395-B577-3F77808A3F83}" srcId="{FF36647C-5324-4D08-BDB9-3E9B48F20DD1}" destId="{782B7E6D-275E-44FE-B64E-CF4DCB18CE03}" srcOrd="2" destOrd="0" parTransId="{7E3DD2C2-FCF7-483B-BBFA-964A0E2EAC0C}" sibTransId="{7A44FBB3-0697-4CC5-A841-27A346413981}"/>
    <dgm:cxn modelId="{2F57F54B-CDA7-436D-9D93-937E560F07A7}" type="presOf" srcId="{888DC0D2-4444-40D9-B858-BFDAA4CDF353}" destId="{9645BC26-64C3-4BAD-BB69-975CFA0A023B}" srcOrd="0" destOrd="0" presId="urn:microsoft.com/office/officeart/2017/3/layout/DropPinTimeline"/>
    <dgm:cxn modelId="{62B3BE6D-6C27-458F-9023-D37F72BE72D6}" type="presOf" srcId="{35F31090-FA02-4466-AFB5-87B6DF07BCD7}" destId="{FCFABF29-6938-49B1-A567-2C728891E9CA}" srcOrd="0" destOrd="0" presId="urn:microsoft.com/office/officeart/2017/3/layout/DropPinTimeline"/>
    <dgm:cxn modelId="{BAADE26F-6135-4A42-861F-8734B5021E8C}" srcId="{71889293-8C1F-4AD7-B68C-3FE0C7D16B13}" destId="{CD7881FF-A15F-410F-B09D-1E890C99EC42}" srcOrd="0" destOrd="0" parTransId="{E5D9AAA8-90BA-4237-8261-FCC83548659B}" sibTransId="{6AF0B477-E943-470E-9479-F3363B74625A}"/>
    <dgm:cxn modelId="{C7566451-E4E4-4666-9F97-113B57CFD5DA}" srcId="{FF36647C-5324-4D08-BDB9-3E9B48F20DD1}" destId="{08572C69-19EE-42C6-BA4D-603CD7F3307B}" srcOrd="3" destOrd="0" parTransId="{F36C70AE-C5E9-45FD-B03D-266D24EF552D}" sibTransId="{82A263F1-86DA-4665-B566-AA56CDF4A9BB}"/>
    <dgm:cxn modelId="{023FFB8A-CC41-4880-A25C-A982B2EAE09D}" type="presOf" srcId="{CD7881FF-A15F-410F-B09D-1E890C99EC42}" destId="{F8BF2188-6BF4-47CB-ACB2-C7EBAAA124D8}" srcOrd="0" destOrd="0" presId="urn:microsoft.com/office/officeart/2017/3/layout/DropPinTimeline"/>
    <dgm:cxn modelId="{E960518D-60D6-4F79-BB9F-34549CE5715F}" type="presOf" srcId="{71889293-8C1F-4AD7-B68C-3FE0C7D16B13}" destId="{D0934DA1-1A1E-4382-BFE9-4832C18E047F}" srcOrd="0" destOrd="0" presId="urn:microsoft.com/office/officeart/2017/3/layout/DropPinTimeline"/>
    <dgm:cxn modelId="{65F80EA2-5680-4228-9825-E3CDA1171EEC}" srcId="{FF36647C-5324-4D08-BDB9-3E9B48F20DD1}" destId="{A2E3FFE0-9999-4268-8734-DB850753F80D}" srcOrd="5" destOrd="0" parTransId="{6361E677-9F3D-4A4A-99E9-7CE7A5F01E13}" sibTransId="{25EAF25B-BEF4-4F4D-B2AD-CA7A1C39F772}"/>
    <dgm:cxn modelId="{F5A8ECA5-D200-40EA-B295-2C48EA2573E9}" type="presOf" srcId="{9DACF67C-F2C7-4BB0-891B-22735034EE56}" destId="{B37425C6-3D26-4CCF-BFF5-FB031B76BCAC}" srcOrd="0" destOrd="0" presId="urn:microsoft.com/office/officeart/2017/3/layout/DropPinTimeline"/>
    <dgm:cxn modelId="{F4F8E7B3-B5C3-4ADE-A4BF-BF9089E937FD}" srcId="{782B7E6D-275E-44FE-B64E-CF4DCB18CE03}" destId="{3941DDB8-F743-41AB-B193-8BE13A9EBF36}" srcOrd="0" destOrd="0" parTransId="{58428392-E344-41F5-84FA-76EEA50DA237}" sibTransId="{6DEDE53F-E007-4201-94B1-14C6431F9A09}"/>
    <dgm:cxn modelId="{BE4FB4BB-893E-4D70-9D8D-4A9F27996DAB}" type="presOf" srcId="{DCC8DE00-82BC-4FE7-898C-EE46322F74A2}" destId="{E2E86E62-E1D6-4BA3-9A6E-0EE2F5195A9B}" srcOrd="0" destOrd="0" presId="urn:microsoft.com/office/officeart/2017/3/layout/DropPinTimeline"/>
    <dgm:cxn modelId="{DA332ABC-6DD8-4389-AAF7-C6A73104A100}" type="presOf" srcId="{FF36647C-5324-4D08-BDB9-3E9B48F20DD1}" destId="{1BECC204-0B33-4492-B18F-BFFE0A1C4F24}" srcOrd="0" destOrd="0" presId="urn:microsoft.com/office/officeart/2017/3/layout/DropPinTimeline"/>
    <dgm:cxn modelId="{852115BD-8DBB-476D-AE59-2D18B21343B2}" type="presOf" srcId="{788A36FF-269B-4055-95FF-3C5324B20379}" destId="{B0EAA9EE-7BD3-411E-86E5-2BA99352C26E}" srcOrd="0" destOrd="0" presId="urn:microsoft.com/office/officeart/2017/3/layout/DropPinTimeline"/>
    <dgm:cxn modelId="{C1C5D9CF-DAC4-4058-A2FB-83924AE08BCC}" srcId="{9DACF67C-F2C7-4BB0-891B-22735034EE56}" destId="{B883083D-8218-49D7-A828-1ECC3C14D9E4}" srcOrd="0" destOrd="0" parTransId="{3085840A-FC05-43FB-9035-4E3F090482CE}" sibTransId="{B0152FBA-F1BA-4B09-9920-901A87904351}"/>
    <dgm:cxn modelId="{2F1EA5D0-72A7-4D63-A3B9-C55FD9D5EC85}" type="presOf" srcId="{08572C69-19EE-42C6-BA4D-603CD7F3307B}" destId="{2FB1246F-9AFE-48AF-BDF2-C0001E8CE969}" srcOrd="0" destOrd="0" presId="urn:microsoft.com/office/officeart/2017/3/layout/DropPinTimeline"/>
    <dgm:cxn modelId="{D9D49FD4-C759-4DE9-A729-2F33D8D18D67}" type="presOf" srcId="{3941DDB8-F743-41AB-B193-8BE13A9EBF36}" destId="{BE565CC8-066C-44C8-A00D-95B6F78719F0}" srcOrd="0" destOrd="0" presId="urn:microsoft.com/office/officeart/2017/3/layout/DropPinTimeline"/>
    <dgm:cxn modelId="{EFA22CE1-2C52-470A-9938-CD484B2EA0F6}" srcId="{888DC0D2-4444-40D9-B858-BFDAA4CDF353}" destId="{35F31090-FA02-4466-AFB5-87B6DF07BCD7}" srcOrd="0" destOrd="0" parTransId="{02A6F90A-4E5E-47CC-991A-2BAB3C5B6268}" sibTransId="{F084EB43-00FB-414A-AD2A-3F7880D78FB6}"/>
    <dgm:cxn modelId="{3F45C7ED-0090-4AEE-94EB-07E2C9AD936C}" srcId="{FF36647C-5324-4D08-BDB9-3E9B48F20DD1}" destId="{888DC0D2-4444-40D9-B858-BFDAA4CDF353}" srcOrd="0" destOrd="0" parTransId="{60EC43F8-DA40-49EB-BE0E-26C4F395A32F}" sibTransId="{4EEDA2CB-0EF6-42B3-B5C1-B63D1AE6F3BD}"/>
    <dgm:cxn modelId="{6679F8F8-4DD6-45EF-A5D8-9725BB126DC4}" srcId="{08572C69-19EE-42C6-BA4D-603CD7F3307B}" destId="{788A36FF-269B-4055-95FF-3C5324B20379}" srcOrd="0" destOrd="0" parTransId="{CCA24C21-3B1C-402F-8FDC-C2B89962FAF9}" sibTransId="{C51466E5-D8D4-4B32-8450-8F1E54EA0DC1}"/>
    <dgm:cxn modelId="{6A67045D-1354-440F-9A28-A42F1D9F1265}" type="presParOf" srcId="{1BECC204-0B33-4492-B18F-BFFE0A1C4F24}" destId="{3348F4B1-7F5F-4A53-A952-22DBCA5BB3EC}" srcOrd="0" destOrd="0" presId="urn:microsoft.com/office/officeart/2017/3/layout/DropPinTimeline"/>
    <dgm:cxn modelId="{3400EEBC-C979-402C-8939-06CAC4AC19CA}" type="presParOf" srcId="{1BECC204-0B33-4492-B18F-BFFE0A1C4F24}" destId="{0AA2C8D3-19FD-4BCC-B35D-CCF603F7C82D}" srcOrd="1" destOrd="0" presId="urn:microsoft.com/office/officeart/2017/3/layout/DropPinTimeline"/>
    <dgm:cxn modelId="{2F5330BE-A0DD-4392-8C5E-94750473B115}" type="presParOf" srcId="{0AA2C8D3-19FD-4BCC-B35D-CCF603F7C82D}" destId="{7647DCFA-31EF-4955-B48B-77294C2049C0}" srcOrd="0" destOrd="0" presId="urn:microsoft.com/office/officeart/2017/3/layout/DropPinTimeline"/>
    <dgm:cxn modelId="{C7421BAC-9BC9-4EEA-820A-D2D79CCF2F4E}" type="presParOf" srcId="{7647DCFA-31EF-4955-B48B-77294C2049C0}" destId="{D22A234F-1E9D-4969-A922-A19F09F4C458}" srcOrd="0" destOrd="0" presId="urn:microsoft.com/office/officeart/2017/3/layout/DropPinTimeline"/>
    <dgm:cxn modelId="{B29F44CB-8AE2-4D42-976A-5883521861B4}" type="presParOf" srcId="{7647DCFA-31EF-4955-B48B-77294C2049C0}" destId="{794BEF26-121F-48B4-9A3A-6B5F50F65E99}" srcOrd="1" destOrd="0" presId="urn:microsoft.com/office/officeart/2017/3/layout/DropPinTimeline"/>
    <dgm:cxn modelId="{6A347135-F060-4D46-ADAC-DE749FF56D65}" type="presParOf" srcId="{794BEF26-121F-48B4-9A3A-6B5F50F65E99}" destId="{A9511F33-CA42-4152-A4A1-9DD03A2021F8}" srcOrd="0" destOrd="0" presId="urn:microsoft.com/office/officeart/2017/3/layout/DropPinTimeline"/>
    <dgm:cxn modelId="{549F65AA-2C27-455D-80A9-303672782118}" type="presParOf" srcId="{794BEF26-121F-48B4-9A3A-6B5F50F65E99}" destId="{68D7ED5E-FB27-42A2-AA5A-D2F167CAF615}" srcOrd="1" destOrd="0" presId="urn:microsoft.com/office/officeart/2017/3/layout/DropPinTimeline"/>
    <dgm:cxn modelId="{7CEAF441-7F03-498D-8422-52D9584A6BB5}" type="presParOf" srcId="{7647DCFA-31EF-4955-B48B-77294C2049C0}" destId="{FCFABF29-6938-49B1-A567-2C728891E9CA}" srcOrd="2" destOrd="0" presId="urn:microsoft.com/office/officeart/2017/3/layout/DropPinTimeline"/>
    <dgm:cxn modelId="{320CA93D-6092-4754-8C68-BE338ED5E344}" type="presParOf" srcId="{7647DCFA-31EF-4955-B48B-77294C2049C0}" destId="{9645BC26-64C3-4BAD-BB69-975CFA0A023B}" srcOrd="3" destOrd="0" presId="urn:microsoft.com/office/officeart/2017/3/layout/DropPinTimeline"/>
    <dgm:cxn modelId="{8C3857A8-3D31-46CF-94C8-620479968E7A}" type="presParOf" srcId="{7647DCFA-31EF-4955-B48B-77294C2049C0}" destId="{0878A462-46B3-4B25-9268-DE75AAAA8082}" srcOrd="4" destOrd="0" presId="urn:microsoft.com/office/officeart/2017/3/layout/DropPinTimeline"/>
    <dgm:cxn modelId="{42C17B05-0ABA-4CC4-B943-D9DE73FF7019}" type="presParOf" srcId="{7647DCFA-31EF-4955-B48B-77294C2049C0}" destId="{AA4F517A-B97A-4D6D-A03F-37D75BFB37CD}" srcOrd="5" destOrd="0" presId="urn:microsoft.com/office/officeart/2017/3/layout/DropPinTimeline"/>
    <dgm:cxn modelId="{34446949-6F13-4FB6-B877-234EA599667A}" type="presParOf" srcId="{0AA2C8D3-19FD-4BCC-B35D-CCF603F7C82D}" destId="{839A820A-31DA-4797-8204-7F7EF9F5555F}" srcOrd="1" destOrd="0" presId="urn:microsoft.com/office/officeart/2017/3/layout/DropPinTimeline"/>
    <dgm:cxn modelId="{FF5964BD-0C16-4036-A42F-E0645A29956C}" type="presParOf" srcId="{0AA2C8D3-19FD-4BCC-B35D-CCF603F7C82D}" destId="{8C66825A-5B96-44A4-805E-158B893449C4}" srcOrd="2" destOrd="0" presId="urn:microsoft.com/office/officeart/2017/3/layout/DropPinTimeline"/>
    <dgm:cxn modelId="{8B76A158-1822-4755-9FB9-1A65B71995E4}" type="presParOf" srcId="{8C66825A-5B96-44A4-805E-158B893449C4}" destId="{9D2E5EF5-7EEC-4C17-8531-A7A2D99FD415}" srcOrd="0" destOrd="0" presId="urn:microsoft.com/office/officeart/2017/3/layout/DropPinTimeline"/>
    <dgm:cxn modelId="{CF9CA8AD-F398-47A7-BF48-0A4845CC86F5}" type="presParOf" srcId="{8C66825A-5B96-44A4-805E-158B893449C4}" destId="{073D0FEF-32C2-487B-9F98-8494D9AF969D}" srcOrd="1" destOrd="0" presId="urn:microsoft.com/office/officeart/2017/3/layout/DropPinTimeline"/>
    <dgm:cxn modelId="{21B5DB09-4954-4266-8643-D2E07131F88F}" type="presParOf" srcId="{073D0FEF-32C2-487B-9F98-8494D9AF969D}" destId="{A75CD570-BD88-4B9C-A3F3-94C8F8344772}" srcOrd="0" destOrd="0" presId="urn:microsoft.com/office/officeart/2017/3/layout/DropPinTimeline"/>
    <dgm:cxn modelId="{5502604D-F939-4B2C-B045-53E8A70A58DA}" type="presParOf" srcId="{073D0FEF-32C2-487B-9F98-8494D9AF969D}" destId="{302517CD-6564-4F8E-8536-A67BF33B4069}" srcOrd="1" destOrd="0" presId="urn:microsoft.com/office/officeart/2017/3/layout/DropPinTimeline"/>
    <dgm:cxn modelId="{11819EBB-A86F-473C-A06F-9DD6EC596FB5}" type="presParOf" srcId="{8C66825A-5B96-44A4-805E-158B893449C4}" destId="{F8BF2188-6BF4-47CB-ACB2-C7EBAAA124D8}" srcOrd="2" destOrd="0" presId="urn:microsoft.com/office/officeart/2017/3/layout/DropPinTimeline"/>
    <dgm:cxn modelId="{DD292452-E187-4812-870A-E21111532A7F}" type="presParOf" srcId="{8C66825A-5B96-44A4-805E-158B893449C4}" destId="{D0934DA1-1A1E-4382-BFE9-4832C18E047F}" srcOrd="3" destOrd="0" presId="urn:microsoft.com/office/officeart/2017/3/layout/DropPinTimeline"/>
    <dgm:cxn modelId="{26F036F4-3983-43A5-B5CC-52FD8ED089DA}" type="presParOf" srcId="{8C66825A-5B96-44A4-805E-158B893449C4}" destId="{FC6D5085-BC9A-425C-9655-F4EAAB9422C6}" srcOrd="4" destOrd="0" presId="urn:microsoft.com/office/officeart/2017/3/layout/DropPinTimeline"/>
    <dgm:cxn modelId="{767E848F-F165-4ABD-8F61-587CA5E93B40}" type="presParOf" srcId="{8C66825A-5B96-44A4-805E-158B893449C4}" destId="{7CFA46A4-9BD6-49D6-94DC-1AE13D5F412E}" srcOrd="5" destOrd="0" presId="urn:microsoft.com/office/officeart/2017/3/layout/DropPinTimeline"/>
    <dgm:cxn modelId="{4EA020F6-F55E-4D45-80FA-D6B638AE141E}" type="presParOf" srcId="{0AA2C8D3-19FD-4BCC-B35D-CCF603F7C82D}" destId="{9B67900B-CDC5-49D7-8DC9-8FE2E33D3D7E}" srcOrd="3" destOrd="0" presId="urn:microsoft.com/office/officeart/2017/3/layout/DropPinTimeline"/>
    <dgm:cxn modelId="{415A46C0-2283-44FF-915C-034A03DFB1A9}" type="presParOf" srcId="{0AA2C8D3-19FD-4BCC-B35D-CCF603F7C82D}" destId="{3D4DFCF6-A2AE-4455-8EA6-7F92B134DC1A}" srcOrd="4" destOrd="0" presId="urn:microsoft.com/office/officeart/2017/3/layout/DropPinTimeline"/>
    <dgm:cxn modelId="{6BF9F790-C0F3-483D-97F5-835AA42DCCCA}" type="presParOf" srcId="{3D4DFCF6-A2AE-4455-8EA6-7F92B134DC1A}" destId="{CC3026BE-E675-4141-8C6B-877C71AFCD1B}" srcOrd="0" destOrd="0" presId="urn:microsoft.com/office/officeart/2017/3/layout/DropPinTimeline"/>
    <dgm:cxn modelId="{8F749BEB-EBEA-4701-9BB5-110EC3C0F436}" type="presParOf" srcId="{3D4DFCF6-A2AE-4455-8EA6-7F92B134DC1A}" destId="{3AF1427C-042E-4DCE-B899-4E00DBD112C1}" srcOrd="1" destOrd="0" presId="urn:microsoft.com/office/officeart/2017/3/layout/DropPinTimeline"/>
    <dgm:cxn modelId="{CC99A7F0-0A73-4B2A-88A4-113E711A26CC}" type="presParOf" srcId="{3AF1427C-042E-4DCE-B899-4E00DBD112C1}" destId="{03390ACF-8941-4B21-81FE-E24DE182F400}" srcOrd="0" destOrd="0" presId="urn:microsoft.com/office/officeart/2017/3/layout/DropPinTimeline"/>
    <dgm:cxn modelId="{811285A6-B995-42A7-9DFD-50E8C0FAC27B}" type="presParOf" srcId="{3AF1427C-042E-4DCE-B899-4E00DBD112C1}" destId="{43CE6054-7DA9-41CA-A822-B5AEFEF9A36D}" srcOrd="1" destOrd="0" presId="urn:microsoft.com/office/officeart/2017/3/layout/DropPinTimeline"/>
    <dgm:cxn modelId="{AD96CE97-29BA-4085-8390-F1258EC25ACF}" type="presParOf" srcId="{3D4DFCF6-A2AE-4455-8EA6-7F92B134DC1A}" destId="{BE565CC8-066C-44C8-A00D-95B6F78719F0}" srcOrd="2" destOrd="0" presId="urn:microsoft.com/office/officeart/2017/3/layout/DropPinTimeline"/>
    <dgm:cxn modelId="{708B1D52-6D57-4751-8D51-3F644342C3D8}" type="presParOf" srcId="{3D4DFCF6-A2AE-4455-8EA6-7F92B134DC1A}" destId="{4183CEC0-935A-410C-86C6-DD5A3092D739}" srcOrd="3" destOrd="0" presId="urn:microsoft.com/office/officeart/2017/3/layout/DropPinTimeline"/>
    <dgm:cxn modelId="{1E192408-7A1B-4667-B04A-72AB1A5F39A6}" type="presParOf" srcId="{3D4DFCF6-A2AE-4455-8EA6-7F92B134DC1A}" destId="{8C47003B-F241-4006-92DC-837EB791561B}" srcOrd="4" destOrd="0" presId="urn:microsoft.com/office/officeart/2017/3/layout/DropPinTimeline"/>
    <dgm:cxn modelId="{21786ED5-6784-4CD2-BED0-B0167FCC003D}" type="presParOf" srcId="{3D4DFCF6-A2AE-4455-8EA6-7F92B134DC1A}" destId="{984F423D-ECA1-4D55-B1B0-2AD397FD43B9}" srcOrd="5" destOrd="0" presId="urn:microsoft.com/office/officeart/2017/3/layout/DropPinTimeline"/>
    <dgm:cxn modelId="{5962FF41-4E8D-408D-9421-0D522727A31C}" type="presParOf" srcId="{0AA2C8D3-19FD-4BCC-B35D-CCF603F7C82D}" destId="{C4A8F019-51C6-4150-A9A3-7778464D4D9A}" srcOrd="5" destOrd="0" presId="urn:microsoft.com/office/officeart/2017/3/layout/DropPinTimeline"/>
    <dgm:cxn modelId="{30F3A29A-AF88-4D2A-AD10-6E2218883C49}" type="presParOf" srcId="{0AA2C8D3-19FD-4BCC-B35D-CCF603F7C82D}" destId="{1627D70B-BA61-4CFB-8CD9-DFD6FD208DB8}" srcOrd="6" destOrd="0" presId="urn:microsoft.com/office/officeart/2017/3/layout/DropPinTimeline"/>
    <dgm:cxn modelId="{FB274EBD-6DC7-445F-83F4-B0A005288D97}" type="presParOf" srcId="{1627D70B-BA61-4CFB-8CD9-DFD6FD208DB8}" destId="{C04AE90F-AC95-43B5-B942-8D97C0918650}" srcOrd="0" destOrd="0" presId="urn:microsoft.com/office/officeart/2017/3/layout/DropPinTimeline"/>
    <dgm:cxn modelId="{1FC3FC91-B01A-4DD8-8680-A597376F8EF2}" type="presParOf" srcId="{1627D70B-BA61-4CFB-8CD9-DFD6FD208DB8}" destId="{A375F317-579E-4A58-B1AE-3DB841CCE3C7}" srcOrd="1" destOrd="0" presId="urn:microsoft.com/office/officeart/2017/3/layout/DropPinTimeline"/>
    <dgm:cxn modelId="{7DAE3E81-6628-45C0-A4A6-28776692FD6A}" type="presParOf" srcId="{A375F317-579E-4A58-B1AE-3DB841CCE3C7}" destId="{6667F50D-D88C-4B95-A4A3-18B9756C037C}" srcOrd="0" destOrd="0" presId="urn:microsoft.com/office/officeart/2017/3/layout/DropPinTimeline"/>
    <dgm:cxn modelId="{7C8A3F87-1C6A-4785-B4A2-FA74B422570C}" type="presParOf" srcId="{A375F317-579E-4A58-B1AE-3DB841CCE3C7}" destId="{CE1B5BCF-E41F-44D1-B630-6887D15A7398}" srcOrd="1" destOrd="0" presId="urn:microsoft.com/office/officeart/2017/3/layout/DropPinTimeline"/>
    <dgm:cxn modelId="{42A1AC80-780E-40F1-8D01-5B4452BC2EA2}" type="presParOf" srcId="{1627D70B-BA61-4CFB-8CD9-DFD6FD208DB8}" destId="{B0EAA9EE-7BD3-411E-86E5-2BA99352C26E}" srcOrd="2" destOrd="0" presId="urn:microsoft.com/office/officeart/2017/3/layout/DropPinTimeline"/>
    <dgm:cxn modelId="{A020CE66-6498-407E-8F0C-F70A679512B9}" type="presParOf" srcId="{1627D70B-BA61-4CFB-8CD9-DFD6FD208DB8}" destId="{2FB1246F-9AFE-48AF-BDF2-C0001E8CE969}" srcOrd="3" destOrd="0" presId="urn:microsoft.com/office/officeart/2017/3/layout/DropPinTimeline"/>
    <dgm:cxn modelId="{DE47D8C3-BDC5-421D-A9D7-59A189B3D10B}" type="presParOf" srcId="{1627D70B-BA61-4CFB-8CD9-DFD6FD208DB8}" destId="{60A486CB-3970-483A-B450-0DD424E81EA2}" srcOrd="4" destOrd="0" presId="urn:microsoft.com/office/officeart/2017/3/layout/DropPinTimeline"/>
    <dgm:cxn modelId="{2F4BD41C-253E-4EAA-9D2B-3ADFA4F11CD5}" type="presParOf" srcId="{1627D70B-BA61-4CFB-8CD9-DFD6FD208DB8}" destId="{41F339AF-F68F-4A37-BAD3-4D68C1C35319}" srcOrd="5" destOrd="0" presId="urn:microsoft.com/office/officeart/2017/3/layout/DropPinTimeline"/>
    <dgm:cxn modelId="{00AA0129-1B6C-4281-BA68-BA42E3271CF1}" type="presParOf" srcId="{0AA2C8D3-19FD-4BCC-B35D-CCF603F7C82D}" destId="{679765CD-0C4C-4A20-81BD-17500EDE937C}" srcOrd="7" destOrd="0" presId="urn:microsoft.com/office/officeart/2017/3/layout/DropPinTimeline"/>
    <dgm:cxn modelId="{D977D28C-ED46-48FD-A996-8098CCEFFC41}" type="presParOf" srcId="{0AA2C8D3-19FD-4BCC-B35D-CCF603F7C82D}" destId="{10FB814B-C4E0-4046-964B-836A7400F5D5}" srcOrd="8" destOrd="0" presId="urn:microsoft.com/office/officeart/2017/3/layout/DropPinTimeline"/>
    <dgm:cxn modelId="{E8A22D41-670E-4BF0-9F37-A6F88F2874DF}" type="presParOf" srcId="{10FB814B-C4E0-4046-964B-836A7400F5D5}" destId="{88C9072A-7971-4C81-9C00-3C768C49DB68}" srcOrd="0" destOrd="0" presId="urn:microsoft.com/office/officeart/2017/3/layout/DropPinTimeline"/>
    <dgm:cxn modelId="{E5967F9F-7178-4817-981F-0F51807C5276}" type="presParOf" srcId="{10FB814B-C4E0-4046-964B-836A7400F5D5}" destId="{27A16FE5-37BD-43C7-A92B-586DC7330561}" srcOrd="1" destOrd="0" presId="urn:microsoft.com/office/officeart/2017/3/layout/DropPinTimeline"/>
    <dgm:cxn modelId="{C2BC39FB-E92A-4A16-834D-251939077C79}" type="presParOf" srcId="{27A16FE5-37BD-43C7-A92B-586DC7330561}" destId="{F5D614B9-A401-4908-A5B6-5C785767B12A}" srcOrd="0" destOrd="0" presId="urn:microsoft.com/office/officeart/2017/3/layout/DropPinTimeline"/>
    <dgm:cxn modelId="{C17D6FA1-3707-4001-903B-EC26B4FB537B}" type="presParOf" srcId="{27A16FE5-37BD-43C7-A92B-586DC7330561}" destId="{A10E4821-9E9D-43D5-AF7E-3658E3CCA6D9}" srcOrd="1" destOrd="0" presId="urn:microsoft.com/office/officeart/2017/3/layout/DropPinTimeline"/>
    <dgm:cxn modelId="{7CFF131E-F01C-471B-9E5C-B4AC966BD036}" type="presParOf" srcId="{10FB814B-C4E0-4046-964B-836A7400F5D5}" destId="{2A9B991F-842F-4129-B41A-36744D0D1DAF}" srcOrd="2" destOrd="0" presId="urn:microsoft.com/office/officeart/2017/3/layout/DropPinTimeline"/>
    <dgm:cxn modelId="{FA91CB86-2717-4126-9675-FE77488A118E}" type="presParOf" srcId="{10FB814B-C4E0-4046-964B-836A7400F5D5}" destId="{B37425C6-3D26-4CCF-BFF5-FB031B76BCAC}" srcOrd="3" destOrd="0" presId="urn:microsoft.com/office/officeart/2017/3/layout/DropPinTimeline"/>
    <dgm:cxn modelId="{17B14DDF-F5FE-434E-A5D9-DCBE5EBAB2C9}" type="presParOf" srcId="{10FB814B-C4E0-4046-964B-836A7400F5D5}" destId="{24B3BAC8-22E0-488C-8C7D-45D0A71DFCF1}" srcOrd="4" destOrd="0" presId="urn:microsoft.com/office/officeart/2017/3/layout/DropPinTimeline"/>
    <dgm:cxn modelId="{41CBC4C9-9241-40FE-9382-52818ED01737}" type="presParOf" srcId="{10FB814B-C4E0-4046-964B-836A7400F5D5}" destId="{95BF1A3A-B469-4681-8F9B-30A2EC4CF281}" srcOrd="5" destOrd="0" presId="urn:microsoft.com/office/officeart/2017/3/layout/DropPinTimeline"/>
    <dgm:cxn modelId="{D11AE649-3A53-4AFA-8542-E830A4FD9A12}" type="presParOf" srcId="{0AA2C8D3-19FD-4BCC-B35D-CCF603F7C82D}" destId="{EDD7BCFB-0E64-4494-BD88-9777C3C7D089}" srcOrd="9" destOrd="0" presId="urn:microsoft.com/office/officeart/2017/3/layout/DropPinTimeline"/>
    <dgm:cxn modelId="{F1D90775-9E7D-482F-9A4A-97989273414E}" type="presParOf" srcId="{0AA2C8D3-19FD-4BCC-B35D-CCF603F7C82D}" destId="{92191D19-5F0F-4055-9F4E-7E513F5CFF20}" srcOrd="10" destOrd="0" presId="urn:microsoft.com/office/officeart/2017/3/layout/DropPinTimeline"/>
    <dgm:cxn modelId="{5620E10E-7F4C-41B1-9C32-F791287DD0CF}" type="presParOf" srcId="{92191D19-5F0F-4055-9F4E-7E513F5CFF20}" destId="{D6764629-0256-43E9-9304-2A75162A40BD}" srcOrd="0" destOrd="0" presId="urn:microsoft.com/office/officeart/2017/3/layout/DropPinTimeline"/>
    <dgm:cxn modelId="{EC99C47E-3688-4ECC-9402-80F616B4A61F}" type="presParOf" srcId="{92191D19-5F0F-4055-9F4E-7E513F5CFF20}" destId="{D489A80B-9845-44E3-A5A9-CAA0CC15D7F5}" srcOrd="1" destOrd="0" presId="urn:microsoft.com/office/officeart/2017/3/layout/DropPinTimeline"/>
    <dgm:cxn modelId="{A421B55C-86E7-4D9A-866B-899199CB75A8}" type="presParOf" srcId="{D489A80B-9845-44E3-A5A9-CAA0CC15D7F5}" destId="{16327667-BB9F-4AE2-9DE4-614AFF9D570E}" srcOrd="0" destOrd="0" presId="urn:microsoft.com/office/officeart/2017/3/layout/DropPinTimeline"/>
    <dgm:cxn modelId="{47F85E29-976D-48A1-AA8D-5AB53637279D}" type="presParOf" srcId="{D489A80B-9845-44E3-A5A9-CAA0CC15D7F5}" destId="{CFD18D11-A7C8-47E9-81DA-B44E1399082D}" srcOrd="1" destOrd="0" presId="urn:microsoft.com/office/officeart/2017/3/layout/DropPinTimeline"/>
    <dgm:cxn modelId="{C8F27549-5C96-4BCD-8A58-E0417B6F10C7}" type="presParOf" srcId="{92191D19-5F0F-4055-9F4E-7E513F5CFF20}" destId="{E2E86E62-E1D6-4BA3-9A6E-0EE2F5195A9B}" srcOrd="2" destOrd="0" presId="urn:microsoft.com/office/officeart/2017/3/layout/DropPinTimeline"/>
    <dgm:cxn modelId="{83664170-82C7-4F2E-B368-DC7EF4EF4C6A}" type="presParOf" srcId="{92191D19-5F0F-4055-9F4E-7E513F5CFF20}" destId="{E0F79C68-0658-4690-ABBE-75BF5D6FB4CE}" srcOrd="3" destOrd="0" presId="urn:microsoft.com/office/officeart/2017/3/layout/DropPinTimeline"/>
    <dgm:cxn modelId="{6444DB2D-0C58-40F2-91C2-4D74DED454AE}" type="presParOf" srcId="{92191D19-5F0F-4055-9F4E-7E513F5CFF20}" destId="{E26F8033-47B9-4A2F-AFA4-759D63C0F3B1}" srcOrd="4" destOrd="0" presId="urn:microsoft.com/office/officeart/2017/3/layout/DropPinTimeline"/>
    <dgm:cxn modelId="{9B2BF7D2-B370-486B-A389-950AC455F839}" type="presParOf" srcId="{92191D19-5F0F-4055-9F4E-7E513F5CFF20}" destId="{800EC29A-42C8-4740-A31D-95BA171F815F}"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92D7955-ED37-4307-8B43-930E3549722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791CF79E-0B46-45D5-8449-713850CA0E01}">
      <dgm:prSet/>
      <dgm:spPr/>
      <dgm:t>
        <a:bodyPr/>
        <a:lstStyle/>
        <a:p>
          <a:r>
            <a:rPr lang="en-US" b="0" i="0" dirty="0"/>
            <a:t>This is a long initiative! We cannot do all of this work at once.</a:t>
          </a:r>
          <a:endParaRPr lang="en-US" dirty="0"/>
        </a:p>
      </dgm:t>
    </dgm:pt>
    <dgm:pt modelId="{9DEB71D8-7D13-4B31-8F85-AC350DEDAD9B}" type="parTrans" cxnId="{1FB40200-3789-4E1C-BD07-90C46FFE26F0}">
      <dgm:prSet/>
      <dgm:spPr/>
      <dgm:t>
        <a:bodyPr/>
        <a:lstStyle/>
        <a:p>
          <a:endParaRPr lang="en-US"/>
        </a:p>
      </dgm:t>
    </dgm:pt>
    <dgm:pt modelId="{E6EA9753-ACF5-479E-B875-BE4EF4612C3D}" type="sibTrans" cxnId="{1FB40200-3789-4E1C-BD07-90C46FFE26F0}">
      <dgm:prSet/>
      <dgm:spPr/>
      <dgm:t>
        <a:bodyPr/>
        <a:lstStyle/>
        <a:p>
          <a:endParaRPr lang="en-US"/>
        </a:p>
      </dgm:t>
    </dgm:pt>
    <dgm:pt modelId="{30B4E765-1277-44DD-85D0-B84EAAE179A7}">
      <dgm:prSet/>
      <dgm:spPr/>
      <dgm:t>
        <a:bodyPr/>
        <a:lstStyle/>
        <a:p>
          <a:pPr rtl="0"/>
          <a:r>
            <a:rPr lang="en-US" b="0" i="0" dirty="0"/>
            <a:t>We will work together </a:t>
          </a:r>
          <a:r>
            <a:rPr lang="en-US" b="0" i="0" dirty="0">
              <a:latin typeface="Calibri" panose="020F0502020204030204"/>
            </a:rPr>
            <a:t>to </a:t>
          </a:r>
          <a:r>
            <a:rPr lang="en-US" b="0" i="0" dirty="0"/>
            <a:t>implement strategies one </a:t>
          </a:r>
          <a:r>
            <a:rPr lang="en-US" b="0" i="0" dirty="0">
              <a:latin typeface="Calibri" panose="020F0502020204030204"/>
            </a:rPr>
            <a:t>driver</a:t>
          </a:r>
          <a:r>
            <a:rPr lang="en-US" b="0" i="0" dirty="0"/>
            <a:t> at a time</a:t>
          </a:r>
          <a:endParaRPr lang="en-US" dirty="0"/>
        </a:p>
      </dgm:t>
    </dgm:pt>
    <dgm:pt modelId="{9135B828-5368-4CAD-9FAE-B80A5DD9E89D}" type="parTrans" cxnId="{BC496F6D-40E9-4D5C-807D-C92DC8F3D788}">
      <dgm:prSet/>
      <dgm:spPr/>
      <dgm:t>
        <a:bodyPr/>
        <a:lstStyle/>
        <a:p>
          <a:endParaRPr lang="en-US"/>
        </a:p>
      </dgm:t>
    </dgm:pt>
    <dgm:pt modelId="{CB06E9C3-8860-4A5C-8406-2F2AD2D887AE}" type="sibTrans" cxnId="{BC496F6D-40E9-4D5C-807D-C92DC8F3D788}">
      <dgm:prSet/>
      <dgm:spPr/>
      <dgm:t>
        <a:bodyPr/>
        <a:lstStyle/>
        <a:p>
          <a:endParaRPr lang="en-US"/>
        </a:p>
      </dgm:t>
    </dgm:pt>
    <dgm:pt modelId="{C3A0B9EB-5179-4F59-A773-C77D69483D33}">
      <dgm:prSet/>
      <dgm:spPr/>
      <dgm:t>
        <a:bodyPr/>
        <a:lstStyle/>
        <a:p>
          <a:r>
            <a:rPr lang="en-US" b="0" i="0" dirty="0"/>
            <a:t>Get started by working on implementing the 10 Steps Getting Started!</a:t>
          </a:r>
          <a:endParaRPr lang="en-US" dirty="0"/>
        </a:p>
      </dgm:t>
    </dgm:pt>
    <dgm:pt modelId="{55221910-2230-4C1C-A80A-2C1FBB3515EF}" type="parTrans" cxnId="{27FA333B-AE8D-4B2E-8A1C-98622BACD314}">
      <dgm:prSet/>
      <dgm:spPr/>
      <dgm:t>
        <a:bodyPr/>
        <a:lstStyle/>
        <a:p>
          <a:endParaRPr lang="en-US"/>
        </a:p>
      </dgm:t>
    </dgm:pt>
    <dgm:pt modelId="{5925FD1D-99A7-4F82-B9A7-11C29E93FB12}" type="sibTrans" cxnId="{27FA333B-AE8D-4B2E-8A1C-98622BACD314}">
      <dgm:prSet/>
      <dgm:spPr/>
      <dgm:t>
        <a:bodyPr/>
        <a:lstStyle/>
        <a:p>
          <a:endParaRPr lang="en-US"/>
        </a:p>
      </dgm:t>
    </dgm:pt>
    <dgm:pt modelId="{DDE1F7BD-6E20-454A-B72F-266F21001763}" type="pres">
      <dgm:prSet presAssocID="{D92D7955-ED37-4307-8B43-930E35497224}" presName="root" presStyleCnt="0">
        <dgm:presLayoutVars>
          <dgm:dir/>
          <dgm:resizeHandles val="exact"/>
        </dgm:presLayoutVars>
      </dgm:prSet>
      <dgm:spPr/>
    </dgm:pt>
    <dgm:pt modelId="{AB93F43D-C8DB-4B16-9DE4-1999ACDAEDEA}" type="pres">
      <dgm:prSet presAssocID="{791CF79E-0B46-45D5-8449-713850CA0E01}" presName="compNode" presStyleCnt="0"/>
      <dgm:spPr/>
    </dgm:pt>
    <dgm:pt modelId="{BDFD5029-1132-4CB6-9206-F38DE2B31927}" type="pres">
      <dgm:prSet presAssocID="{791CF79E-0B46-45D5-8449-713850CA0E01}" presName="bgRect" presStyleLbl="bgShp" presStyleIdx="0" presStyleCnt="3"/>
      <dgm:spPr/>
    </dgm:pt>
    <dgm:pt modelId="{9AC8E2A8-244A-4D57-A672-A6EC0FE1EBF9}" type="pres">
      <dgm:prSet presAssocID="{791CF79E-0B46-45D5-8449-713850CA0E0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nthly calendar"/>
        </a:ext>
      </dgm:extLst>
    </dgm:pt>
    <dgm:pt modelId="{AB7BDBAB-439B-4947-A50A-ABEB62F16460}" type="pres">
      <dgm:prSet presAssocID="{791CF79E-0B46-45D5-8449-713850CA0E01}" presName="spaceRect" presStyleCnt="0"/>
      <dgm:spPr/>
    </dgm:pt>
    <dgm:pt modelId="{FB5B16BC-89C5-477A-B28E-3F12309BD611}" type="pres">
      <dgm:prSet presAssocID="{791CF79E-0B46-45D5-8449-713850CA0E01}" presName="parTx" presStyleLbl="revTx" presStyleIdx="0" presStyleCnt="3">
        <dgm:presLayoutVars>
          <dgm:chMax val="0"/>
          <dgm:chPref val="0"/>
        </dgm:presLayoutVars>
      </dgm:prSet>
      <dgm:spPr/>
    </dgm:pt>
    <dgm:pt modelId="{A133680D-E5C7-43D6-8D41-2B3A6436047A}" type="pres">
      <dgm:prSet presAssocID="{E6EA9753-ACF5-479E-B875-BE4EF4612C3D}" presName="sibTrans" presStyleCnt="0"/>
      <dgm:spPr/>
    </dgm:pt>
    <dgm:pt modelId="{E4B40693-F01D-47E8-86C5-3E5AF71C729A}" type="pres">
      <dgm:prSet presAssocID="{30B4E765-1277-44DD-85D0-B84EAAE179A7}" presName="compNode" presStyleCnt="0"/>
      <dgm:spPr/>
    </dgm:pt>
    <dgm:pt modelId="{BEBA2235-AABC-4867-B992-D6D078590A62}" type="pres">
      <dgm:prSet presAssocID="{30B4E765-1277-44DD-85D0-B84EAAE179A7}" presName="bgRect" presStyleLbl="bgShp" presStyleIdx="1" presStyleCnt="3"/>
      <dgm:spPr/>
    </dgm:pt>
    <dgm:pt modelId="{20F7F6B9-14E4-404F-A58D-C59BB37946D5}" type="pres">
      <dgm:prSet presAssocID="{30B4E765-1277-44DD-85D0-B84EAAE179A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ers outline"/>
        </a:ext>
      </dgm:extLst>
    </dgm:pt>
    <dgm:pt modelId="{9A66C286-5820-40DB-9AF5-F5F9F32431BE}" type="pres">
      <dgm:prSet presAssocID="{30B4E765-1277-44DD-85D0-B84EAAE179A7}" presName="spaceRect" presStyleCnt="0"/>
      <dgm:spPr/>
    </dgm:pt>
    <dgm:pt modelId="{BA179529-18A6-4989-8434-F20D2288611B}" type="pres">
      <dgm:prSet presAssocID="{30B4E765-1277-44DD-85D0-B84EAAE179A7}" presName="parTx" presStyleLbl="revTx" presStyleIdx="1" presStyleCnt="3">
        <dgm:presLayoutVars>
          <dgm:chMax val="0"/>
          <dgm:chPref val="0"/>
        </dgm:presLayoutVars>
      </dgm:prSet>
      <dgm:spPr/>
    </dgm:pt>
    <dgm:pt modelId="{03CFC4F6-E014-4C17-8FCD-1DFFE68CDEE4}" type="pres">
      <dgm:prSet presAssocID="{CB06E9C3-8860-4A5C-8406-2F2AD2D887AE}" presName="sibTrans" presStyleCnt="0"/>
      <dgm:spPr/>
    </dgm:pt>
    <dgm:pt modelId="{9D54F3C9-7279-4C36-8DCB-0D4D9B2DEE0F}" type="pres">
      <dgm:prSet presAssocID="{C3A0B9EB-5179-4F59-A773-C77D69483D33}" presName="compNode" presStyleCnt="0"/>
      <dgm:spPr/>
    </dgm:pt>
    <dgm:pt modelId="{5F250659-753E-4077-AA7C-9ED0D6CDE608}" type="pres">
      <dgm:prSet presAssocID="{C3A0B9EB-5179-4F59-A773-C77D69483D33}" presName="bgRect" presStyleLbl="bgShp" presStyleIdx="2" presStyleCnt="3"/>
      <dgm:spPr/>
    </dgm:pt>
    <dgm:pt modelId="{61CB9427-5B5C-46C6-BFA7-2602FD506DA3}" type="pres">
      <dgm:prSet presAssocID="{C3A0B9EB-5179-4F59-A773-C77D69483D3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orkflow"/>
        </a:ext>
      </dgm:extLst>
    </dgm:pt>
    <dgm:pt modelId="{CCC7508B-B5FA-4961-A214-167CFFD96237}" type="pres">
      <dgm:prSet presAssocID="{C3A0B9EB-5179-4F59-A773-C77D69483D33}" presName="spaceRect" presStyleCnt="0"/>
      <dgm:spPr/>
    </dgm:pt>
    <dgm:pt modelId="{4C5993AF-0D3C-423B-AC04-58DD1DCA88ED}" type="pres">
      <dgm:prSet presAssocID="{C3A0B9EB-5179-4F59-A773-C77D69483D33}" presName="parTx" presStyleLbl="revTx" presStyleIdx="2" presStyleCnt="3">
        <dgm:presLayoutVars>
          <dgm:chMax val="0"/>
          <dgm:chPref val="0"/>
        </dgm:presLayoutVars>
      </dgm:prSet>
      <dgm:spPr/>
    </dgm:pt>
  </dgm:ptLst>
  <dgm:cxnLst>
    <dgm:cxn modelId="{1FB40200-3789-4E1C-BD07-90C46FFE26F0}" srcId="{D92D7955-ED37-4307-8B43-930E35497224}" destId="{791CF79E-0B46-45D5-8449-713850CA0E01}" srcOrd="0" destOrd="0" parTransId="{9DEB71D8-7D13-4B31-8F85-AC350DEDAD9B}" sibTransId="{E6EA9753-ACF5-479E-B875-BE4EF4612C3D}"/>
    <dgm:cxn modelId="{27FA333B-AE8D-4B2E-8A1C-98622BACD314}" srcId="{D92D7955-ED37-4307-8B43-930E35497224}" destId="{C3A0B9EB-5179-4F59-A773-C77D69483D33}" srcOrd="2" destOrd="0" parTransId="{55221910-2230-4C1C-A80A-2C1FBB3515EF}" sibTransId="{5925FD1D-99A7-4F82-B9A7-11C29E93FB12}"/>
    <dgm:cxn modelId="{BC496F6D-40E9-4D5C-807D-C92DC8F3D788}" srcId="{D92D7955-ED37-4307-8B43-930E35497224}" destId="{30B4E765-1277-44DD-85D0-B84EAAE179A7}" srcOrd="1" destOrd="0" parTransId="{9135B828-5368-4CAD-9FAE-B80A5DD9E89D}" sibTransId="{CB06E9C3-8860-4A5C-8406-2F2AD2D887AE}"/>
    <dgm:cxn modelId="{EF311F54-536A-454C-93FB-ABF612AB9585}" type="presOf" srcId="{C3A0B9EB-5179-4F59-A773-C77D69483D33}" destId="{4C5993AF-0D3C-423B-AC04-58DD1DCA88ED}" srcOrd="0" destOrd="0" presId="urn:microsoft.com/office/officeart/2018/2/layout/IconVerticalSolidList"/>
    <dgm:cxn modelId="{0B789957-559F-4824-A32C-E333D0543FAC}" type="presOf" srcId="{D92D7955-ED37-4307-8B43-930E35497224}" destId="{DDE1F7BD-6E20-454A-B72F-266F21001763}" srcOrd="0" destOrd="0" presId="urn:microsoft.com/office/officeart/2018/2/layout/IconVerticalSolidList"/>
    <dgm:cxn modelId="{2BE2AB57-27FC-4A27-980A-2594573B0E68}" type="presOf" srcId="{30B4E765-1277-44DD-85D0-B84EAAE179A7}" destId="{BA179529-18A6-4989-8434-F20D2288611B}" srcOrd="0" destOrd="0" presId="urn:microsoft.com/office/officeart/2018/2/layout/IconVerticalSolidList"/>
    <dgm:cxn modelId="{3BAE3B93-C6E8-4B7A-B38E-AF14888DF0AD}" type="presOf" srcId="{791CF79E-0B46-45D5-8449-713850CA0E01}" destId="{FB5B16BC-89C5-477A-B28E-3F12309BD611}" srcOrd="0" destOrd="0" presId="urn:microsoft.com/office/officeart/2018/2/layout/IconVerticalSolidList"/>
    <dgm:cxn modelId="{E633BD1A-C58F-4011-AC27-FC8491EDDE4A}" type="presParOf" srcId="{DDE1F7BD-6E20-454A-B72F-266F21001763}" destId="{AB93F43D-C8DB-4B16-9DE4-1999ACDAEDEA}" srcOrd="0" destOrd="0" presId="urn:microsoft.com/office/officeart/2018/2/layout/IconVerticalSolidList"/>
    <dgm:cxn modelId="{560453B4-9F79-483D-B54B-AAA029581430}" type="presParOf" srcId="{AB93F43D-C8DB-4B16-9DE4-1999ACDAEDEA}" destId="{BDFD5029-1132-4CB6-9206-F38DE2B31927}" srcOrd="0" destOrd="0" presId="urn:microsoft.com/office/officeart/2018/2/layout/IconVerticalSolidList"/>
    <dgm:cxn modelId="{2794E4BA-07D0-49FD-B751-751938A3112E}" type="presParOf" srcId="{AB93F43D-C8DB-4B16-9DE4-1999ACDAEDEA}" destId="{9AC8E2A8-244A-4D57-A672-A6EC0FE1EBF9}" srcOrd="1" destOrd="0" presId="urn:microsoft.com/office/officeart/2018/2/layout/IconVerticalSolidList"/>
    <dgm:cxn modelId="{578D78BA-B092-4D45-8515-0565985CEDBD}" type="presParOf" srcId="{AB93F43D-C8DB-4B16-9DE4-1999ACDAEDEA}" destId="{AB7BDBAB-439B-4947-A50A-ABEB62F16460}" srcOrd="2" destOrd="0" presId="urn:microsoft.com/office/officeart/2018/2/layout/IconVerticalSolidList"/>
    <dgm:cxn modelId="{9689AA03-F115-44B1-A34D-0DBEB58AC992}" type="presParOf" srcId="{AB93F43D-C8DB-4B16-9DE4-1999ACDAEDEA}" destId="{FB5B16BC-89C5-477A-B28E-3F12309BD611}" srcOrd="3" destOrd="0" presId="urn:microsoft.com/office/officeart/2018/2/layout/IconVerticalSolidList"/>
    <dgm:cxn modelId="{9D28BBA4-A533-4294-814F-E491B8B33DE4}" type="presParOf" srcId="{DDE1F7BD-6E20-454A-B72F-266F21001763}" destId="{A133680D-E5C7-43D6-8D41-2B3A6436047A}" srcOrd="1" destOrd="0" presId="urn:microsoft.com/office/officeart/2018/2/layout/IconVerticalSolidList"/>
    <dgm:cxn modelId="{E8AE1148-5AE6-4B88-8502-8F922D08AA5A}" type="presParOf" srcId="{DDE1F7BD-6E20-454A-B72F-266F21001763}" destId="{E4B40693-F01D-47E8-86C5-3E5AF71C729A}" srcOrd="2" destOrd="0" presId="urn:microsoft.com/office/officeart/2018/2/layout/IconVerticalSolidList"/>
    <dgm:cxn modelId="{F490DD61-4101-47F2-B52D-092AD1FA418D}" type="presParOf" srcId="{E4B40693-F01D-47E8-86C5-3E5AF71C729A}" destId="{BEBA2235-AABC-4867-B992-D6D078590A62}" srcOrd="0" destOrd="0" presId="urn:microsoft.com/office/officeart/2018/2/layout/IconVerticalSolidList"/>
    <dgm:cxn modelId="{5F7317D8-CB2A-4019-872A-BA594EBE3742}" type="presParOf" srcId="{E4B40693-F01D-47E8-86C5-3E5AF71C729A}" destId="{20F7F6B9-14E4-404F-A58D-C59BB37946D5}" srcOrd="1" destOrd="0" presId="urn:microsoft.com/office/officeart/2018/2/layout/IconVerticalSolidList"/>
    <dgm:cxn modelId="{872EE5F3-413B-4B88-B718-FC8F4381A250}" type="presParOf" srcId="{E4B40693-F01D-47E8-86C5-3E5AF71C729A}" destId="{9A66C286-5820-40DB-9AF5-F5F9F32431BE}" srcOrd="2" destOrd="0" presId="urn:microsoft.com/office/officeart/2018/2/layout/IconVerticalSolidList"/>
    <dgm:cxn modelId="{BBF68C3B-9D60-4627-82EF-41E6A034CF45}" type="presParOf" srcId="{E4B40693-F01D-47E8-86C5-3E5AF71C729A}" destId="{BA179529-18A6-4989-8434-F20D2288611B}" srcOrd="3" destOrd="0" presId="urn:microsoft.com/office/officeart/2018/2/layout/IconVerticalSolidList"/>
    <dgm:cxn modelId="{858E7AAE-C6F2-4AD8-AA99-142DBBBFC54C}" type="presParOf" srcId="{DDE1F7BD-6E20-454A-B72F-266F21001763}" destId="{03CFC4F6-E014-4C17-8FCD-1DFFE68CDEE4}" srcOrd="3" destOrd="0" presId="urn:microsoft.com/office/officeart/2018/2/layout/IconVerticalSolidList"/>
    <dgm:cxn modelId="{E072B3D6-DF6A-4C5D-8E40-B883294917B3}" type="presParOf" srcId="{DDE1F7BD-6E20-454A-B72F-266F21001763}" destId="{9D54F3C9-7279-4C36-8DCB-0D4D9B2DEE0F}" srcOrd="4" destOrd="0" presId="urn:microsoft.com/office/officeart/2018/2/layout/IconVerticalSolidList"/>
    <dgm:cxn modelId="{44935690-D1D4-4640-A276-1DA752E3992F}" type="presParOf" srcId="{9D54F3C9-7279-4C36-8DCB-0D4D9B2DEE0F}" destId="{5F250659-753E-4077-AA7C-9ED0D6CDE608}" srcOrd="0" destOrd="0" presId="urn:microsoft.com/office/officeart/2018/2/layout/IconVerticalSolidList"/>
    <dgm:cxn modelId="{8BBBD4FE-4C30-481B-B3F0-CC63EFCB92EC}" type="presParOf" srcId="{9D54F3C9-7279-4C36-8DCB-0D4D9B2DEE0F}" destId="{61CB9427-5B5C-46C6-BFA7-2602FD506DA3}" srcOrd="1" destOrd="0" presId="urn:microsoft.com/office/officeart/2018/2/layout/IconVerticalSolidList"/>
    <dgm:cxn modelId="{02BC2207-A2D2-4372-8854-32A8AC859837}" type="presParOf" srcId="{9D54F3C9-7279-4C36-8DCB-0D4D9B2DEE0F}" destId="{CCC7508B-B5FA-4961-A214-167CFFD96237}" srcOrd="2" destOrd="0" presId="urn:microsoft.com/office/officeart/2018/2/layout/IconVerticalSolidList"/>
    <dgm:cxn modelId="{6B7027C3-8625-4363-923D-671DF701280A}" type="presParOf" srcId="{9D54F3C9-7279-4C36-8DCB-0D4D9B2DEE0F}" destId="{4C5993AF-0D3C-423B-AC04-58DD1DCA88E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6E60D1-F877-47D4-8B41-F856165E7A80}">
      <dsp:nvSpPr>
        <dsp:cNvPr id="0" name=""/>
        <dsp:cNvSpPr/>
      </dsp:nvSpPr>
      <dsp:spPr>
        <a:xfrm>
          <a:off x="53" y="72692"/>
          <a:ext cx="5127426" cy="83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Hospital Level Data form</a:t>
          </a:r>
        </a:p>
      </dsp:txBody>
      <dsp:txXfrm>
        <a:off x="53" y="72692"/>
        <a:ext cx="5127426" cy="835200"/>
      </dsp:txXfrm>
    </dsp:sp>
    <dsp:sp modelId="{9CDF1165-2B21-4627-8D70-B6E057345958}">
      <dsp:nvSpPr>
        <dsp:cNvPr id="0" name=""/>
        <dsp:cNvSpPr/>
      </dsp:nvSpPr>
      <dsp:spPr>
        <a:xfrm>
          <a:off x="53" y="907892"/>
          <a:ext cx="5127426" cy="383099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Structure Measures </a:t>
          </a:r>
        </a:p>
        <a:p>
          <a:pPr marL="285750" lvl="1" indent="-285750" algn="l" defTabSz="1289050">
            <a:lnSpc>
              <a:spcPct val="90000"/>
            </a:lnSpc>
            <a:spcBef>
              <a:spcPct val="0"/>
            </a:spcBef>
            <a:spcAft>
              <a:spcPct val="15000"/>
            </a:spcAft>
            <a:buChar char="•"/>
          </a:pPr>
          <a:r>
            <a:rPr lang="en-US" sz="2900" kern="1200"/>
            <a:t>Education Measures</a:t>
          </a:r>
        </a:p>
        <a:p>
          <a:pPr marL="285750" lvl="1" indent="-285750" algn="l" defTabSz="1289050">
            <a:lnSpc>
              <a:spcPct val="90000"/>
            </a:lnSpc>
            <a:spcBef>
              <a:spcPct val="0"/>
            </a:spcBef>
            <a:spcAft>
              <a:spcPct val="15000"/>
            </a:spcAft>
            <a:buChar char="•"/>
          </a:pPr>
          <a:r>
            <a:rPr lang="en-US" sz="2900" kern="1200"/>
            <a:t>Crib Audits</a:t>
          </a:r>
        </a:p>
      </dsp:txBody>
      <dsp:txXfrm>
        <a:off x="53" y="907892"/>
        <a:ext cx="5127426" cy="3830990"/>
      </dsp:txXfrm>
    </dsp:sp>
    <dsp:sp modelId="{72E90577-3D0A-44A9-802D-7402B1482B47}">
      <dsp:nvSpPr>
        <dsp:cNvPr id="0" name=""/>
        <dsp:cNvSpPr/>
      </dsp:nvSpPr>
      <dsp:spPr>
        <a:xfrm>
          <a:off x="5845319" y="72692"/>
          <a:ext cx="5127426" cy="8352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Patient Level Data form</a:t>
          </a:r>
        </a:p>
      </dsp:txBody>
      <dsp:txXfrm>
        <a:off x="5845319" y="72692"/>
        <a:ext cx="5127426" cy="835200"/>
      </dsp:txXfrm>
    </dsp:sp>
    <dsp:sp modelId="{CF05495E-421B-40F8-91AB-BC717C052FA2}">
      <dsp:nvSpPr>
        <dsp:cNvPr id="0" name=""/>
        <dsp:cNvSpPr/>
      </dsp:nvSpPr>
      <dsp:spPr>
        <a:xfrm>
          <a:off x="5845319" y="907892"/>
          <a:ext cx="5127426" cy="383099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Random sample of 20 newborns discharged each month​</a:t>
          </a:r>
        </a:p>
        <a:p>
          <a:pPr marL="285750" lvl="1" indent="-285750" algn="l" defTabSz="1289050">
            <a:lnSpc>
              <a:spcPct val="90000"/>
            </a:lnSpc>
            <a:spcBef>
              <a:spcPct val="0"/>
            </a:spcBef>
            <a:spcAft>
              <a:spcPct val="15000"/>
            </a:spcAft>
            <a:buChar char="•"/>
          </a:pPr>
          <a:r>
            <a:rPr lang="en-US" sz="2900" kern="1200"/>
            <a:t>Newborn and birthing person demographic data​</a:t>
          </a:r>
        </a:p>
        <a:p>
          <a:pPr marL="285750" lvl="1" indent="-285750" algn="l" defTabSz="1289050">
            <a:lnSpc>
              <a:spcPct val="90000"/>
            </a:lnSpc>
            <a:spcBef>
              <a:spcPct val="0"/>
            </a:spcBef>
            <a:spcAft>
              <a:spcPct val="15000"/>
            </a:spcAft>
            <a:buChar char="•"/>
          </a:pPr>
          <a:r>
            <a:rPr lang="en-US" sz="2900" kern="1200"/>
            <a:t>Safe sleep education​</a:t>
          </a:r>
        </a:p>
        <a:p>
          <a:pPr marL="285750" lvl="1" indent="-285750" algn="l" defTabSz="1289050">
            <a:lnSpc>
              <a:spcPct val="90000"/>
            </a:lnSpc>
            <a:spcBef>
              <a:spcPct val="0"/>
            </a:spcBef>
            <a:spcAft>
              <a:spcPct val="15000"/>
            </a:spcAft>
            <a:buChar char="•"/>
          </a:pPr>
          <a:r>
            <a:rPr lang="en-US" sz="2900" kern="1200"/>
            <a:t>Transfer of care documentation​</a:t>
          </a:r>
        </a:p>
      </dsp:txBody>
      <dsp:txXfrm>
        <a:off x="5845319" y="907892"/>
        <a:ext cx="5127426" cy="38309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6DA4E-BFB9-43D6-AF7A-AEDE000EE248}">
      <dsp:nvSpPr>
        <dsp:cNvPr id="0" name=""/>
        <dsp:cNvSpPr/>
      </dsp:nvSpPr>
      <dsp:spPr>
        <a:xfrm>
          <a:off x="4614" y="447655"/>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dirty="0">
              <a:latin typeface="Calibri" panose="020F0502020204030204"/>
            </a:rPr>
            <a:t>QI Team Lead Support Call</a:t>
          </a:r>
        </a:p>
      </dsp:txBody>
      <dsp:txXfrm>
        <a:off x="710612" y="447655"/>
        <a:ext cx="2117992" cy="1411995"/>
      </dsp:txXfrm>
    </dsp:sp>
    <dsp:sp modelId="{69A3F573-828B-4DB7-9CCF-884EA63CCE92}">
      <dsp:nvSpPr>
        <dsp:cNvPr id="0" name=""/>
        <dsp:cNvSpPr/>
      </dsp:nvSpPr>
      <dsp:spPr>
        <a:xfrm>
          <a:off x="3075704" y="567675"/>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December 7th, 2023</a:t>
          </a:r>
        </a:p>
      </dsp:txBody>
      <dsp:txXfrm>
        <a:off x="3661682" y="567675"/>
        <a:ext cx="1757934" cy="1171955"/>
      </dsp:txXfrm>
    </dsp:sp>
    <dsp:sp modelId="{A66BEFC1-E304-4612-B5D9-747AB98866B1}">
      <dsp:nvSpPr>
        <dsp:cNvPr id="0" name=""/>
        <dsp:cNvSpPr/>
      </dsp:nvSpPr>
      <dsp:spPr>
        <a:xfrm>
          <a:off x="5595409" y="567675"/>
          <a:ext cx="5247081"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Important information for ESSI team leads on how to get started</a:t>
          </a:r>
        </a:p>
      </dsp:txBody>
      <dsp:txXfrm>
        <a:off x="6181387" y="567675"/>
        <a:ext cx="4075126" cy="1171955"/>
      </dsp:txXfrm>
    </dsp:sp>
    <dsp:sp modelId="{60962599-610D-41A6-A308-3C61676FA10F}">
      <dsp:nvSpPr>
        <dsp:cNvPr id="0" name=""/>
        <dsp:cNvSpPr/>
      </dsp:nvSpPr>
      <dsp:spPr>
        <a:xfrm>
          <a:off x="4614" y="2057330"/>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dirty="0">
              <a:solidFill>
                <a:schemeClr val="bg1"/>
              </a:solidFill>
              <a:latin typeface="Calibri" panose="020F0502020204030204"/>
            </a:rPr>
            <a:t>First ESSI Monthly Webinar</a:t>
          </a:r>
        </a:p>
      </dsp:txBody>
      <dsp:txXfrm>
        <a:off x="710612" y="2057330"/>
        <a:ext cx="2117992" cy="1411995"/>
      </dsp:txXfrm>
    </dsp:sp>
    <dsp:sp modelId="{40C493D5-84C5-414A-B25E-F0516F30F1DB}">
      <dsp:nvSpPr>
        <dsp:cNvPr id="0" name=""/>
        <dsp:cNvSpPr/>
      </dsp:nvSpPr>
      <dsp:spPr>
        <a:xfrm>
          <a:off x="3075704" y="2177350"/>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solidFill>
                <a:srgbClr val="444444"/>
              </a:solidFill>
              <a:latin typeface="Calibri" panose="020F0502020204030204"/>
            </a:rPr>
            <a:t>January </a:t>
          </a:r>
          <a:r>
            <a:rPr lang="en-US" sz="2200" kern="1200" dirty="0">
              <a:latin typeface="Calibri" panose="020F0502020204030204"/>
            </a:rPr>
            <a:t>22nd 2024 at 2pm</a:t>
          </a:r>
        </a:p>
      </dsp:txBody>
      <dsp:txXfrm>
        <a:off x="3661682" y="2177350"/>
        <a:ext cx="1757934" cy="1171955"/>
      </dsp:txXfrm>
    </dsp:sp>
    <dsp:sp modelId="{E4E686C1-FC9F-4B2F-8F63-DDC471B0DEB4}">
      <dsp:nvSpPr>
        <dsp:cNvPr id="0" name=""/>
        <dsp:cNvSpPr/>
      </dsp:nvSpPr>
      <dsp:spPr>
        <a:xfrm>
          <a:off x="5595409" y="2177350"/>
          <a:ext cx="5366503"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Getting started with healthcare provider and nurse education</a:t>
          </a:r>
        </a:p>
      </dsp:txBody>
      <dsp:txXfrm>
        <a:off x="6181387" y="2177350"/>
        <a:ext cx="4194548" cy="1171955"/>
      </dsp:txXfrm>
    </dsp:sp>
    <dsp:sp modelId="{5D5075C0-CF76-44AB-9B25-E029186A86C7}">
      <dsp:nvSpPr>
        <dsp:cNvPr id="0" name=""/>
        <dsp:cNvSpPr/>
      </dsp:nvSpPr>
      <dsp:spPr>
        <a:xfrm>
          <a:off x="4614" y="3667004"/>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US" sz="3200" kern="1200" dirty="0">
              <a:latin typeface="Calibri" panose="020F0502020204030204"/>
            </a:rPr>
            <a:t>ESSI Data Training Webinars</a:t>
          </a:r>
          <a:endParaRPr lang="en-US" sz="3200" kern="1200" dirty="0"/>
        </a:p>
      </dsp:txBody>
      <dsp:txXfrm>
        <a:off x="710612" y="3667004"/>
        <a:ext cx="2117992" cy="1411995"/>
      </dsp:txXfrm>
    </dsp:sp>
    <dsp:sp modelId="{DBA3233D-396D-4828-ABB1-05C8FA826E94}">
      <dsp:nvSpPr>
        <dsp:cNvPr id="0" name=""/>
        <dsp:cNvSpPr/>
      </dsp:nvSpPr>
      <dsp:spPr>
        <a:xfrm>
          <a:off x="3075704" y="3787024"/>
          <a:ext cx="2548564"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January 11th, 2024</a:t>
          </a:r>
        </a:p>
      </dsp:txBody>
      <dsp:txXfrm>
        <a:off x="3661682" y="3787024"/>
        <a:ext cx="1376609" cy="1171955"/>
      </dsp:txXfrm>
    </dsp:sp>
    <dsp:sp modelId="{4507A95F-1518-44E3-95D0-73A0EC79E6E5}">
      <dsp:nvSpPr>
        <dsp:cNvPr id="0" name=""/>
        <dsp:cNvSpPr/>
      </dsp:nvSpPr>
      <dsp:spPr>
        <a:xfrm>
          <a:off x="5214084" y="3787024"/>
          <a:ext cx="2440070"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January 18th, 2024</a:t>
          </a:r>
          <a:endParaRPr lang="en-US" sz="2200" kern="1200" dirty="0"/>
        </a:p>
      </dsp:txBody>
      <dsp:txXfrm>
        <a:off x="5800062" y="3787024"/>
        <a:ext cx="1268115" cy="1171955"/>
      </dsp:txXfrm>
    </dsp:sp>
    <dsp:sp modelId="{D8BA990C-EEA2-4E44-B076-9170393433C7}">
      <dsp:nvSpPr>
        <dsp:cNvPr id="0" name=""/>
        <dsp:cNvSpPr/>
      </dsp:nvSpPr>
      <dsp:spPr>
        <a:xfrm>
          <a:off x="7243970" y="3787024"/>
          <a:ext cx="394245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How to collect data, access redcap, enter data and review reports</a:t>
          </a:r>
        </a:p>
      </dsp:txBody>
      <dsp:txXfrm>
        <a:off x="7829948" y="3787024"/>
        <a:ext cx="2770504" cy="11719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48F4B1-7F5F-4A53-A952-22DBCA5BB3EC}">
      <dsp:nvSpPr>
        <dsp:cNvPr id="0" name=""/>
        <dsp:cNvSpPr/>
      </dsp:nvSpPr>
      <dsp:spPr>
        <a:xfrm>
          <a:off x="0" y="2756916"/>
          <a:ext cx="7351603"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A9511F33-CA42-4152-A4A1-9DD03A2021F8}">
      <dsp:nvSpPr>
        <dsp:cNvPr id="0" name=""/>
        <dsp:cNvSpPr/>
      </dsp:nvSpPr>
      <dsp:spPr>
        <a:xfrm rot="8100000">
          <a:off x="77590" y="654083"/>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D7ED5E-FB27-42A2-AA5A-D2F167CAF615}">
      <dsp:nvSpPr>
        <dsp:cNvPr id="0" name=""/>
        <dsp:cNvSpPr/>
      </dsp:nvSpPr>
      <dsp:spPr>
        <a:xfrm>
          <a:off x="118476"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CFABF29-6938-49B1-A567-2C728891E9CA}">
      <dsp:nvSpPr>
        <dsp:cNvPr id="0" name=""/>
        <dsp:cNvSpPr/>
      </dsp:nvSpPr>
      <dsp:spPr>
        <a:xfrm>
          <a:off x="521852"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a:t>
          </a:r>
        </a:p>
      </dsp:txBody>
      <dsp:txXfrm>
        <a:off x="521852" y="1124821"/>
        <a:ext cx="1589773" cy="1632094"/>
      </dsp:txXfrm>
    </dsp:sp>
    <dsp:sp modelId="{9645BC26-64C3-4BAD-BB69-975CFA0A023B}">
      <dsp:nvSpPr>
        <dsp:cNvPr id="0" name=""/>
        <dsp:cNvSpPr/>
      </dsp:nvSpPr>
      <dsp:spPr>
        <a:xfrm>
          <a:off x="521852"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anuary</a:t>
          </a:r>
        </a:p>
      </dsp:txBody>
      <dsp:txXfrm>
        <a:off x="521852" y="551383"/>
        <a:ext cx="1589773" cy="573438"/>
      </dsp:txXfrm>
    </dsp:sp>
    <dsp:sp modelId="{0878A462-46B3-4B25-9268-DE75AAAA8082}">
      <dsp:nvSpPr>
        <dsp:cNvPr id="0" name=""/>
        <dsp:cNvSpPr/>
      </dsp:nvSpPr>
      <dsp:spPr>
        <a:xfrm>
          <a:off x="261609" y="1124821"/>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22A234F-1E9D-4969-A922-A19F09F4C458}">
      <dsp:nvSpPr>
        <dsp:cNvPr id="0" name=""/>
        <dsp:cNvSpPr/>
      </dsp:nvSpPr>
      <dsp:spPr>
        <a:xfrm>
          <a:off x="24124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5CD570-BD88-4B9C-A3F3-94C8F8344772}">
      <dsp:nvSpPr>
        <dsp:cNvPr id="0" name=""/>
        <dsp:cNvSpPr/>
      </dsp:nvSpPr>
      <dsp:spPr>
        <a:xfrm rot="18900000">
          <a:off x="1125312" y="4491710"/>
          <a:ext cx="368038" cy="368038"/>
        </a:xfrm>
        <a:prstGeom prst="teardrop">
          <a:avLst>
            <a:gd name="adj" fmla="val 115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2517CD-6564-4F8E-8536-A67BF33B4069}">
      <dsp:nvSpPr>
        <dsp:cNvPr id="0" name=""/>
        <dsp:cNvSpPr/>
      </dsp:nvSpPr>
      <dsp:spPr>
        <a:xfrm>
          <a:off x="1166198"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8BF2188-6BF4-47CB-ACB2-C7EBAAA124D8}">
      <dsp:nvSpPr>
        <dsp:cNvPr id="0" name=""/>
        <dsp:cNvSpPr/>
      </dsp:nvSpPr>
      <dsp:spPr>
        <a:xfrm>
          <a:off x="1569574"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 Part 2</a:t>
          </a:r>
        </a:p>
      </dsp:txBody>
      <dsp:txXfrm>
        <a:off x="1569574" y="2756916"/>
        <a:ext cx="1589773" cy="1632094"/>
      </dsp:txXfrm>
    </dsp:sp>
    <dsp:sp modelId="{D0934DA1-1A1E-4382-BFE9-4832C18E047F}">
      <dsp:nvSpPr>
        <dsp:cNvPr id="0" name=""/>
        <dsp:cNvSpPr/>
      </dsp:nvSpPr>
      <dsp:spPr>
        <a:xfrm>
          <a:off x="1569574"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February</a:t>
          </a:r>
        </a:p>
      </dsp:txBody>
      <dsp:txXfrm>
        <a:off x="1569574" y="4389010"/>
        <a:ext cx="1589773" cy="573438"/>
      </dsp:txXfrm>
    </dsp:sp>
    <dsp:sp modelId="{FC6D5085-BC9A-425C-9655-F4EAAB9422C6}">
      <dsp:nvSpPr>
        <dsp:cNvPr id="0" name=""/>
        <dsp:cNvSpPr/>
      </dsp:nvSpPr>
      <dsp:spPr>
        <a:xfrm>
          <a:off x="1309331" y="2756916"/>
          <a:ext cx="0" cy="1632094"/>
        </a:xfrm>
        <a:prstGeom prst="line">
          <a:avLst/>
        </a:prstGeom>
        <a:noFill/>
        <a:ln w="12700" cap="flat" cmpd="sng" algn="ctr">
          <a:solidFill>
            <a:schemeClr val="accent3">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D2E5EF5-7EEC-4C17-8531-A7A2D99FD415}">
      <dsp:nvSpPr>
        <dsp:cNvPr id="0" name=""/>
        <dsp:cNvSpPr/>
      </dsp:nvSpPr>
      <dsp:spPr>
        <a:xfrm>
          <a:off x="1288964" y="2705306"/>
          <a:ext cx="93687" cy="103218"/>
        </a:xfrm>
        <a:prstGeom prst="ellipse">
          <a:avLst/>
        </a:prstGeom>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390ACF-8941-4B21-81FE-E24DE182F400}">
      <dsp:nvSpPr>
        <dsp:cNvPr id="0" name=""/>
        <dsp:cNvSpPr/>
      </dsp:nvSpPr>
      <dsp:spPr>
        <a:xfrm rot="8100000">
          <a:off x="2173034" y="654083"/>
          <a:ext cx="368038" cy="368038"/>
        </a:xfrm>
        <a:prstGeom prst="teardrop">
          <a:avLst>
            <a:gd name="adj" fmla="val 11500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CE6054-7DA9-41CA-A822-B5AEFEF9A36D}">
      <dsp:nvSpPr>
        <dsp:cNvPr id="0" name=""/>
        <dsp:cNvSpPr/>
      </dsp:nvSpPr>
      <dsp:spPr>
        <a:xfrm>
          <a:off x="2213920"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E565CC8-066C-44C8-A00D-95B6F78719F0}">
      <dsp:nvSpPr>
        <dsp:cNvPr id="0" name=""/>
        <dsp:cNvSpPr/>
      </dsp:nvSpPr>
      <dsp:spPr>
        <a:xfrm>
          <a:off x="2617296"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Safe Sleep Environment Education and Implementation</a:t>
          </a:r>
        </a:p>
      </dsp:txBody>
      <dsp:txXfrm>
        <a:off x="2617296" y="1124821"/>
        <a:ext cx="1589773" cy="1632094"/>
      </dsp:txXfrm>
    </dsp:sp>
    <dsp:sp modelId="{4183CEC0-935A-410C-86C6-DD5A3092D739}">
      <dsp:nvSpPr>
        <dsp:cNvPr id="0" name=""/>
        <dsp:cNvSpPr/>
      </dsp:nvSpPr>
      <dsp:spPr>
        <a:xfrm>
          <a:off x="2617296"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rch</a:t>
          </a:r>
        </a:p>
      </dsp:txBody>
      <dsp:txXfrm>
        <a:off x="2617296" y="551383"/>
        <a:ext cx="1589773" cy="573438"/>
      </dsp:txXfrm>
    </dsp:sp>
    <dsp:sp modelId="{8C47003B-F241-4006-92DC-837EB791561B}">
      <dsp:nvSpPr>
        <dsp:cNvPr id="0" name=""/>
        <dsp:cNvSpPr/>
      </dsp:nvSpPr>
      <dsp:spPr>
        <a:xfrm>
          <a:off x="2357053" y="1124821"/>
          <a:ext cx="0" cy="1632094"/>
        </a:xfrm>
        <a:prstGeom prst="line">
          <a:avLst/>
        </a:prstGeom>
        <a:noFill/>
        <a:ln w="12700" cap="flat" cmpd="sng" algn="ctr">
          <a:solidFill>
            <a:schemeClr val="accent4">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C3026BE-E675-4141-8C6B-877C71AFCD1B}">
      <dsp:nvSpPr>
        <dsp:cNvPr id="0" name=""/>
        <dsp:cNvSpPr/>
      </dsp:nvSpPr>
      <dsp:spPr>
        <a:xfrm>
          <a:off x="2336686" y="2705306"/>
          <a:ext cx="93687" cy="103218"/>
        </a:xfrm>
        <a:prstGeom prst="ellipse">
          <a:avLst/>
        </a:prstGeom>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67F50D-D88C-4B95-A4A3-18B9756C037C}">
      <dsp:nvSpPr>
        <dsp:cNvPr id="0" name=""/>
        <dsp:cNvSpPr/>
      </dsp:nvSpPr>
      <dsp:spPr>
        <a:xfrm rot="18900000">
          <a:off x="3220756" y="4491710"/>
          <a:ext cx="368038" cy="368038"/>
        </a:xfrm>
        <a:prstGeom prst="teardrop">
          <a:avLst>
            <a:gd name="adj" fmla="val 115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1B5BCF-E41F-44D1-B630-6887D15A7398}">
      <dsp:nvSpPr>
        <dsp:cNvPr id="0" name=""/>
        <dsp:cNvSpPr/>
      </dsp:nvSpPr>
      <dsp:spPr>
        <a:xfrm>
          <a:off x="3261642"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0EAA9EE-7BD3-411E-86E5-2BA99352C26E}">
      <dsp:nvSpPr>
        <dsp:cNvPr id="0" name=""/>
        <dsp:cNvSpPr/>
      </dsp:nvSpPr>
      <dsp:spPr>
        <a:xfrm>
          <a:off x="3665018"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Policy Review (AAP Safe Sleep Guidelines and reviewing polices with an equity lens) </a:t>
          </a:r>
        </a:p>
      </dsp:txBody>
      <dsp:txXfrm>
        <a:off x="3665018" y="2756916"/>
        <a:ext cx="1589773" cy="1632094"/>
      </dsp:txXfrm>
    </dsp:sp>
    <dsp:sp modelId="{2FB1246F-9AFE-48AF-BDF2-C0001E8CE969}">
      <dsp:nvSpPr>
        <dsp:cNvPr id="0" name=""/>
        <dsp:cNvSpPr/>
      </dsp:nvSpPr>
      <dsp:spPr>
        <a:xfrm>
          <a:off x="3665018"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April</a:t>
          </a:r>
        </a:p>
      </dsp:txBody>
      <dsp:txXfrm>
        <a:off x="3665018" y="4389010"/>
        <a:ext cx="1589773" cy="573438"/>
      </dsp:txXfrm>
    </dsp:sp>
    <dsp:sp modelId="{60A486CB-3970-483A-B450-0DD424E81EA2}">
      <dsp:nvSpPr>
        <dsp:cNvPr id="0" name=""/>
        <dsp:cNvSpPr/>
      </dsp:nvSpPr>
      <dsp:spPr>
        <a:xfrm>
          <a:off x="3404775" y="2756916"/>
          <a:ext cx="0" cy="1632094"/>
        </a:xfrm>
        <a:prstGeom prst="line">
          <a:avLst/>
        </a:prstGeom>
        <a:noFill/>
        <a:ln w="1270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04AE90F-AC95-43B5-B942-8D97C0918650}">
      <dsp:nvSpPr>
        <dsp:cNvPr id="0" name=""/>
        <dsp:cNvSpPr/>
      </dsp:nvSpPr>
      <dsp:spPr>
        <a:xfrm>
          <a:off x="3384408" y="2705306"/>
          <a:ext cx="93687" cy="103218"/>
        </a:xfrm>
        <a:prstGeom prst="ellipse">
          <a:avLst/>
        </a:prstGeom>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614B9-A401-4908-A5B6-5C785767B12A}">
      <dsp:nvSpPr>
        <dsp:cNvPr id="0" name=""/>
        <dsp:cNvSpPr/>
      </dsp:nvSpPr>
      <dsp:spPr>
        <a:xfrm rot="8100000">
          <a:off x="4268478" y="654083"/>
          <a:ext cx="368038" cy="368038"/>
        </a:xfrm>
        <a:prstGeom prst="teardrop">
          <a:avLst>
            <a:gd name="adj" fmla="val 11500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0E4821-9E9D-43D5-AF7E-3658E3CCA6D9}">
      <dsp:nvSpPr>
        <dsp:cNvPr id="0" name=""/>
        <dsp:cNvSpPr/>
      </dsp:nvSpPr>
      <dsp:spPr>
        <a:xfrm>
          <a:off x="4309364"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A9B991F-842F-4129-B41A-36744D0D1DAF}">
      <dsp:nvSpPr>
        <dsp:cNvPr id="0" name=""/>
        <dsp:cNvSpPr/>
      </dsp:nvSpPr>
      <dsp:spPr>
        <a:xfrm>
          <a:off x="4712740"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2024 Face-to-Face Meeting in Springfield IL</a:t>
          </a:r>
        </a:p>
      </dsp:txBody>
      <dsp:txXfrm>
        <a:off x="4712740" y="1124821"/>
        <a:ext cx="1589773" cy="1632094"/>
      </dsp:txXfrm>
    </dsp:sp>
    <dsp:sp modelId="{B37425C6-3D26-4CCF-BFF5-FB031B76BCAC}">
      <dsp:nvSpPr>
        <dsp:cNvPr id="0" name=""/>
        <dsp:cNvSpPr/>
      </dsp:nvSpPr>
      <dsp:spPr>
        <a:xfrm>
          <a:off x="4712740"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y</a:t>
          </a:r>
        </a:p>
      </dsp:txBody>
      <dsp:txXfrm>
        <a:off x="4712740" y="551383"/>
        <a:ext cx="1589773" cy="573438"/>
      </dsp:txXfrm>
    </dsp:sp>
    <dsp:sp modelId="{24B3BAC8-22E0-488C-8C7D-45D0A71DFCF1}">
      <dsp:nvSpPr>
        <dsp:cNvPr id="0" name=""/>
        <dsp:cNvSpPr/>
      </dsp:nvSpPr>
      <dsp:spPr>
        <a:xfrm>
          <a:off x="4452497" y="1124821"/>
          <a:ext cx="0" cy="1632094"/>
        </a:xfrm>
        <a:prstGeom prst="line">
          <a:avLst/>
        </a:prstGeom>
        <a:noFill/>
        <a:ln w="12700" cap="flat" cmpd="sng" algn="ctr">
          <a:solidFill>
            <a:schemeClr val="accent6">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8C9072A-7971-4C81-9C00-3C768C49DB68}">
      <dsp:nvSpPr>
        <dsp:cNvPr id="0" name=""/>
        <dsp:cNvSpPr/>
      </dsp:nvSpPr>
      <dsp:spPr>
        <a:xfrm>
          <a:off x="4432130" y="2705306"/>
          <a:ext cx="93687" cy="103218"/>
        </a:xfrm>
        <a:prstGeom prst="ellipse">
          <a:avLst/>
        </a:prstGeom>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327667-BB9F-4AE2-9DE4-614AFF9D570E}">
      <dsp:nvSpPr>
        <dsp:cNvPr id="0" name=""/>
        <dsp:cNvSpPr/>
      </dsp:nvSpPr>
      <dsp:spPr>
        <a:xfrm rot="18900000">
          <a:off x="5316200" y="4491710"/>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D18D11-A7C8-47E9-81DA-B44E1399082D}">
      <dsp:nvSpPr>
        <dsp:cNvPr id="0" name=""/>
        <dsp:cNvSpPr/>
      </dsp:nvSpPr>
      <dsp:spPr>
        <a:xfrm>
          <a:off x="5357086"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2E86E62-E1D6-4BA3-9A6E-0EE2F5195A9B}">
      <dsp:nvSpPr>
        <dsp:cNvPr id="0" name=""/>
        <dsp:cNvSpPr/>
      </dsp:nvSpPr>
      <dsp:spPr>
        <a:xfrm>
          <a:off x="5760462"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Use qualified interpreters and provide information in multiple languages </a:t>
          </a:r>
        </a:p>
      </dsp:txBody>
      <dsp:txXfrm>
        <a:off x="5760462" y="2756916"/>
        <a:ext cx="1589773" cy="1632094"/>
      </dsp:txXfrm>
    </dsp:sp>
    <dsp:sp modelId="{E0F79C68-0658-4690-ABBE-75BF5D6FB4CE}">
      <dsp:nvSpPr>
        <dsp:cNvPr id="0" name=""/>
        <dsp:cNvSpPr/>
      </dsp:nvSpPr>
      <dsp:spPr>
        <a:xfrm>
          <a:off x="5760462"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une</a:t>
          </a:r>
        </a:p>
      </dsp:txBody>
      <dsp:txXfrm>
        <a:off x="5760462" y="4389010"/>
        <a:ext cx="1589773" cy="573438"/>
      </dsp:txXfrm>
    </dsp:sp>
    <dsp:sp modelId="{E26F8033-47B9-4A2F-AFA4-759D63C0F3B1}">
      <dsp:nvSpPr>
        <dsp:cNvPr id="0" name=""/>
        <dsp:cNvSpPr/>
      </dsp:nvSpPr>
      <dsp:spPr>
        <a:xfrm>
          <a:off x="5500219" y="2756916"/>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6764629-0256-43E9-9304-2A75162A40BD}">
      <dsp:nvSpPr>
        <dsp:cNvPr id="0" name=""/>
        <dsp:cNvSpPr/>
      </dsp:nvSpPr>
      <dsp:spPr>
        <a:xfrm>
          <a:off x="547985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FD5029-1132-4CB6-9206-F38DE2B31927}">
      <dsp:nvSpPr>
        <dsp:cNvPr id="0" name=""/>
        <dsp:cNvSpPr/>
      </dsp:nvSpPr>
      <dsp:spPr>
        <a:xfrm>
          <a:off x="0" y="640"/>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C8E2A8-244A-4D57-A672-A6EC0FE1EBF9}">
      <dsp:nvSpPr>
        <dsp:cNvPr id="0" name=""/>
        <dsp:cNvSpPr/>
      </dsp:nvSpPr>
      <dsp:spPr>
        <a:xfrm>
          <a:off x="453120" y="337671"/>
          <a:ext cx="823854" cy="8238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B5B16BC-89C5-477A-B28E-3F12309BD611}">
      <dsp:nvSpPr>
        <dsp:cNvPr id="0" name=""/>
        <dsp:cNvSpPr/>
      </dsp:nvSpPr>
      <dsp:spPr>
        <a:xfrm>
          <a:off x="1730095" y="640"/>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dirty="0"/>
            <a:t>This is a long initiative! We cannot do all of this work at once.</a:t>
          </a:r>
          <a:endParaRPr lang="en-US" sz="2500" kern="1200" dirty="0"/>
        </a:p>
      </dsp:txBody>
      <dsp:txXfrm>
        <a:off x="1730095" y="640"/>
        <a:ext cx="4859164" cy="1497917"/>
      </dsp:txXfrm>
    </dsp:sp>
    <dsp:sp modelId="{BEBA2235-AABC-4867-B992-D6D078590A62}">
      <dsp:nvSpPr>
        <dsp:cNvPr id="0" name=""/>
        <dsp:cNvSpPr/>
      </dsp:nvSpPr>
      <dsp:spPr>
        <a:xfrm>
          <a:off x="0" y="1873037"/>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F7F6B9-14E4-404F-A58D-C59BB37946D5}">
      <dsp:nvSpPr>
        <dsp:cNvPr id="0" name=""/>
        <dsp:cNvSpPr/>
      </dsp:nvSpPr>
      <dsp:spPr>
        <a:xfrm>
          <a:off x="453120" y="2210069"/>
          <a:ext cx="823854" cy="82385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A179529-18A6-4989-8434-F20D2288611B}">
      <dsp:nvSpPr>
        <dsp:cNvPr id="0" name=""/>
        <dsp:cNvSpPr/>
      </dsp:nvSpPr>
      <dsp:spPr>
        <a:xfrm>
          <a:off x="1730095" y="1873037"/>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rtl="0">
            <a:lnSpc>
              <a:spcPct val="90000"/>
            </a:lnSpc>
            <a:spcBef>
              <a:spcPct val="0"/>
            </a:spcBef>
            <a:spcAft>
              <a:spcPct val="35000"/>
            </a:spcAft>
            <a:buNone/>
          </a:pPr>
          <a:r>
            <a:rPr lang="en-US" sz="2500" b="0" i="0" kern="1200" dirty="0"/>
            <a:t>We will work together </a:t>
          </a:r>
          <a:r>
            <a:rPr lang="en-US" sz="2500" b="0" i="0" kern="1200" dirty="0">
              <a:latin typeface="Calibri" panose="020F0502020204030204"/>
            </a:rPr>
            <a:t>to </a:t>
          </a:r>
          <a:r>
            <a:rPr lang="en-US" sz="2500" b="0" i="0" kern="1200" dirty="0"/>
            <a:t>implement strategies one </a:t>
          </a:r>
          <a:r>
            <a:rPr lang="en-US" sz="2500" b="0" i="0" kern="1200" dirty="0">
              <a:latin typeface="Calibri" panose="020F0502020204030204"/>
            </a:rPr>
            <a:t>driver</a:t>
          </a:r>
          <a:r>
            <a:rPr lang="en-US" sz="2500" b="0" i="0" kern="1200" dirty="0"/>
            <a:t> at a time</a:t>
          </a:r>
          <a:endParaRPr lang="en-US" sz="2500" kern="1200" dirty="0"/>
        </a:p>
      </dsp:txBody>
      <dsp:txXfrm>
        <a:off x="1730095" y="1873037"/>
        <a:ext cx="4859164" cy="1497917"/>
      </dsp:txXfrm>
    </dsp:sp>
    <dsp:sp modelId="{5F250659-753E-4077-AA7C-9ED0D6CDE608}">
      <dsp:nvSpPr>
        <dsp:cNvPr id="0" name=""/>
        <dsp:cNvSpPr/>
      </dsp:nvSpPr>
      <dsp:spPr>
        <a:xfrm>
          <a:off x="0" y="3745434"/>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CB9427-5B5C-46C6-BFA7-2602FD506DA3}">
      <dsp:nvSpPr>
        <dsp:cNvPr id="0" name=""/>
        <dsp:cNvSpPr/>
      </dsp:nvSpPr>
      <dsp:spPr>
        <a:xfrm>
          <a:off x="453120" y="4082466"/>
          <a:ext cx="823854" cy="8238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C5993AF-0D3C-423B-AC04-58DD1DCA88ED}">
      <dsp:nvSpPr>
        <dsp:cNvPr id="0" name=""/>
        <dsp:cNvSpPr/>
      </dsp:nvSpPr>
      <dsp:spPr>
        <a:xfrm>
          <a:off x="1730095" y="3745434"/>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dirty="0"/>
            <a:t>Get started by working on implementing the 10 Steps Getting Started!</a:t>
          </a:r>
          <a:endParaRPr lang="en-US" sz="2500" kern="1200" dirty="0"/>
        </a:p>
      </dsp:txBody>
      <dsp:txXfrm>
        <a:off x="1730095" y="3745434"/>
        <a:ext cx="4859164" cy="149791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35AE3D-BBF5-462F-BA10-AB04ECE4348E}" type="datetimeFigureOut">
              <a:t>1/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BD1989-80A6-4526-B6CA-3DFDBBCC42D0}" type="slidenum">
              <a:t>‹#›</a:t>
            </a:fld>
            <a:endParaRPr lang="en-US"/>
          </a:p>
        </p:txBody>
      </p:sp>
    </p:spTree>
    <p:extLst>
      <p:ext uri="{BB962C8B-B14F-4D97-AF65-F5344CB8AC3E}">
        <p14:creationId xmlns:p14="http://schemas.microsoft.com/office/powerpoint/2010/main" val="1213723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6</a:t>
            </a:fld>
            <a:endParaRPr lang="en-US"/>
          </a:p>
        </p:txBody>
      </p:sp>
    </p:spTree>
    <p:extLst>
      <p:ext uri="{BB962C8B-B14F-4D97-AF65-F5344CB8AC3E}">
        <p14:creationId xmlns:p14="http://schemas.microsoft.com/office/powerpoint/2010/main" val="2602365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p>
        </p:txBody>
      </p:sp>
      <p:sp>
        <p:nvSpPr>
          <p:cNvPr id="4" name="Slide Number Placeholder 3"/>
          <p:cNvSpPr>
            <a:spLocks noGrp="1"/>
          </p:cNvSpPr>
          <p:nvPr>
            <p:ph type="sldNum" sz="quarter" idx="5"/>
          </p:nvPr>
        </p:nvSpPr>
        <p:spPr/>
        <p:txBody>
          <a:bodyPr/>
          <a:lstStyle/>
          <a:p>
            <a:fld id="{1EBD1989-80A6-4526-B6CA-3DFDBBCC42D0}" type="slidenum">
              <a:rPr lang="en-US"/>
              <a:t>4</a:t>
            </a:fld>
            <a:endParaRPr lang="en-US"/>
          </a:p>
        </p:txBody>
      </p:sp>
    </p:spTree>
    <p:extLst>
      <p:ext uri="{BB962C8B-B14F-4D97-AF65-F5344CB8AC3E}">
        <p14:creationId xmlns:p14="http://schemas.microsoft.com/office/powerpoint/2010/main" val="2005678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cs typeface="Calibri"/>
            </a:endParaRPr>
          </a:p>
          <a:p>
            <a:endParaRPr lang="en-US"/>
          </a:p>
          <a:p>
            <a:endParaRPr lang="en-US"/>
          </a:p>
          <a:p>
            <a:endParaRPr lang="en-US"/>
          </a:p>
          <a:p>
            <a:r>
              <a:rPr lang="en-US"/>
              <a:t>ILPQC pillars and IHI QI Science </a:t>
            </a:r>
            <a:endParaRPr lang="en-US">
              <a:cs typeface="Calibri" panose="020F0502020204030204"/>
            </a:endParaRPr>
          </a:p>
          <a:p>
            <a:pPr defTabSz="984978">
              <a:defRPr/>
            </a:pPr>
            <a:r>
              <a:rPr lang="en-US"/>
              <a:t>Evidence-based QI </a:t>
            </a:r>
            <a:endParaRPr lang="en-US">
              <a:cs typeface="Calibri"/>
            </a:endParaRPr>
          </a:p>
          <a:p>
            <a:pPr defTabSz="984978">
              <a:defRPr/>
            </a:pPr>
            <a:r>
              <a:rPr lang="en-US"/>
              <a:t>PQCs</a:t>
            </a:r>
            <a:endParaRPr lang="en-US">
              <a:cs typeface="Calibri"/>
            </a:endParaRPr>
          </a:p>
          <a:p>
            <a:pPr defTabSz="984978">
              <a:defRPr/>
            </a:pPr>
            <a:r>
              <a:rPr lang="en-US"/>
              <a:t>Model of Improvement on slide</a:t>
            </a:r>
            <a:endParaRPr lang="en-US">
              <a:cs typeface="Calibri"/>
            </a:endParaRPr>
          </a:p>
          <a:p>
            <a:endParaRPr lang="en-US"/>
          </a:p>
        </p:txBody>
      </p:sp>
      <p:sp>
        <p:nvSpPr>
          <p:cNvPr id="4" name="Slide Number Placeholder 3"/>
          <p:cNvSpPr>
            <a:spLocks noGrp="1"/>
          </p:cNvSpPr>
          <p:nvPr>
            <p:ph type="sldNum" sz="quarter" idx="10"/>
          </p:nvPr>
        </p:nvSpPr>
        <p:spPr/>
        <p:txBody>
          <a:bodyPr/>
          <a:lstStyle/>
          <a:p>
            <a:fld id="{DF0BAE01-1909-42FA-8A9A-F40C71256137}" type="slidenum">
              <a:rPr lang="en-US" smtClean="0"/>
              <a:t>5</a:t>
            </a:fld>
            <a:endParaRPr lang="en-US"/>
          </a:p>
        </p:txBody>
      </p:sp>
    </p:spTree>
    <p:extLst>
      <p:ext uri="{BB962C8B-B14F-4D97-AF65-F5344CB8AC3E}">
        <p14:creationId xmlns:p14="http://schemas.microsoft.com/office/powerpoint/2010/main" val="1696350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FADAB5-D1BF-66DC-1F13-FF6A2DEAB8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543C40C-4048-0D5F-0E71-1B5FC4E50E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771231-645D-CC84-E5DB-1B0F455BE45F}"/>
              </a:ext>
            </a:extLst>
          </p:cNvPr>
          <p:cNvSpPr>
            <a:spLocks noGrp="1"/>
          </p:cNvSpPr>
          <p:nvPr>
            <p:ph type="body" idx="1"/>
          </p:nvPr>
        </p:nvSpPr>
        <p:spPr/>
        <p:txBody>
          <a:bodyPr/>
          <a:lstStyle/>
          <a:p>
            <a:r>
              <a:rPr lang="en-US">
                <a:cs typeface="Calibri"/>
              </a:rPr>
              <a:t>ALANA</a:t>
            </a:r>
          </a:p>
        </p:txBody>
      </p:sp>
      <p:sp>
        <p:nvSpPr>
          <p:cNvPr id="4" name="Slide Number Placeholder 3">
            <a:extLst>
              <a:ext uri="{FF2B5EF4-FFF2-40B4-BE49-F238E27FC236}">
                <a16:creationId xmlns:a16="http://schemas.microsoft.com/office/drawing/2014/main" id="{1E390781-3F80-37D7-CF4F-5AD9D530D807}"/>
              </a:ext>
            </a:extLst>
          </p:cNvPr>
          <p:cNvSpPr>
            <a:spLocks noGrp="1"/>
          </p:cNvSpPr>
          <p:nvPr>
            <p:ph type="sldNum" sz="quarter" idx="5"/>
          </p:nvPr>
        </p:nvSpPr>
        <p:spPr/>
        <p:txBody>
          <a:bodyPr/>
          <a:lstStyle/>
          <a:p>
            <a:fld id="{1EBD1989-80A6-4526-B6CA-3DFDBBCC42D0}" type="slidenum">
              <a:rPr lang="en-US"/>
              <a:t>7</a:t>
            </a:fld>
            <a:endParaRPr lang="en-US"/>
          </a:p>
        </p:txBody>
      </p:sp>
    </p:spTree>
    <p:extLst>
      <p:ext uri="{BB962C8B-B14F-4D97-AF65-F5344CB8AC3E}">
        <p14:creationId xmlns:p14="http://schemas.microsoft.com/office/powerpoint/2010/main" val="305647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4F7ACB-ADCE-06A2-4360-EC74B9029B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A97482-3496-452C-43FA-46D96F1369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F8FDFE-BE72-E549-6BF9-5CFF4AEEE69D}"/>
              </a:ext>
            </a:extLst>
          </p:cNvPr>
          <p:cNvSpPr>
            <a:spLocks noGrp="1"/>
          </p:cNvSpPr>
          <p:nvPr>
            <p:ph type="body" idx="1"/>
          </p:nvPr>
        </p:nvSpPr>
        <p:spPr/>
        <p:txBody>
          <a:bodyPr/>
          <a:lstStyle/>
          <a:p>
            <a:r>
              <a:rPr lang="en-US">
                <a:cs typeface="Calibri"/>
              </a:rPr>
              <a:t>ALANA</a:t>
            </a:r>
          </a:p>
        </p:txBody>
      </p:sp>
      <p:sp>
        <p:nvSpPr>
          <p:cNvPr id="4" name="Slide Number Placeholder 3">
            <a:extLst>
              <a:ext uri="{FF2B5EF4-FFF2-40B4-BE49-F238E27FC236}">
                <a16:creationId xmlns:a16="http://schemas.microsoft.com/office/drawing/2014/main" id="{FD79209E-7F97-FB19-C8B1-5196DA46FE9A}"/>
              </a:ext>
            </a:extLst>
          </p:cNvPr>
          <p:cNvSpPr>
            <a:spLocks noGrp="1"/>
          </p:cNvSpPr>
          <p:nvPr>
            <p:ph type="sldNum" sz="quarter" idx="5"/>
          </p:nvPr>
        </p:nvSpPr>
        <p:spPr/>
        <p:txBody>
          <a:bodyPr/>
          <a:lstStyle/>
          <a:p>
            <a:fld id="{1EBD1989-80A6-4526-B6CA-3DFDBBCC42D0}" type="slidenum">
              <a:rPr lang="en-US"/>
              <a:t>13</a:t>
            </a:fld>
            <a:endParaRPr lang="en-US"/>
          </a:p>
        </p:txBody>
      </p:sp>
    </p:spTree>
    <p:extLst>
      <p:ext uri="{BB962C8B-B14F-4D97-AF65-F5344CB8AC3E}">
        <p14:creationId xmlns:p14="http://schemas.microsoft.com/office/powerpoint/2010/main" val="971454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eclined: documented as declined</a:t>
            </a:r>
          </a:p>
          <a:p>
            <a:r>
              <a:rPr lang="en-US" dirty="0">
                <a:cs typeface="Calibri"/>
              </a:rPr>
              <a:t>Unknown: race not documented in medical record</a:t>
            </a:r>
          </a:p>
        </p:txBody>
      </p:sp>
      <p:sp>
        <p:nvSpPr>
          <p:cNvPr id="4" name="Slide Number Placeholder 3"/>
          <p:cNvSpPr>
            <a:spLocks noGrp="1"/>
          </p:cNvSpPr>
          <p:nvPr>
            <p:ph type="sldNum" sz="quarter" idx="5"/>
          </p:nvPr>
        </p:nvSpPr>
        <p:spPr/>
        <p:txBody>
          <a:bodyPr/>
          <a:lstStyle/>
          <a:p>
            <a:fld id="{1EBD1989-80A6-4526-B6CA-3DFDBBCC42D0}" type="slidenum">
              <a:rPr lang="en-US"/>
              <a:t>28</a:t>
            </a:fld>
            <a:endParaRPr lang="en-US"/>
          </a:p>
        </p:txBody>
      </p:sp>
    </p:spTree>
    <p:extLst>
      <p:ext uri="{BB962C8B-B14F-4D97-AF65-F5344CB8AC3E}">
        <p14:creationId xmlns:p14="http://schemas.microsoft.com/office/powerpoint/2010/main" val="3103540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Including Medicaid managed care organizations in public insurance</a:t>
            </a:r>
          </a:p>
          <a:p>
            <a:r>
              <a:rPr lang="en-US" dirty="0">
                <a:cs typeface="Calibri"/>
              </a:rPr>
              <a:t>Connect with billing for list of what is included</a:t>
            </a:r>
          </a:p>
          <a:p>
            <a:endParaRPr lang="en-US" dirty="0">
              <a:cs typeface="Calibri"/>
            </a:endParaRPr>
          </a:p>
          <a:p>
            <a:r>
              <a:rPr lang="en-US" dirty="0"/>
              <a:t>Declined: documented as declined</a:t>
            </a:r>
          </a:p>
          <a:p>
            <a:r>
              <a:rPr lang="en-US" dirty="0"/>
              <a:t>Unknown: race not documented in medical record</a:t>
            </a:r>
          </a:p>
        </p:txBody>
      </p:sp>
      <p:sp>
        <p:nvSpPr>
          <p:cNvPr id="4" name="Slide Number Placeholder 3"/>
          <p:cNvSpPr>
            <a:spLocks noGrp="1"/>
          </p:cNvSpPr>
          <p:nvPr>
            <p:ph type="sldNum" sz="quarter" idx="5"/>
          </p:nvPr>
        </p:nvSpPr>
        <p:spPr/>
        <p:txBody>
          <a:bodyPr/>
          <a:lstStyle/>
          <a:p>
            <a:fld id="{1EBD1989-80A6-4526-B6CA-3DFDBBCC42D0}" type="slidenum">
              <a:rPr lang="en-US"/>
              <a:t>29</a:t>
            </a:fld>
            <a:endParaRPr lang="en-US"/>
          </a:p>
        </p:txBody>
      </p:sp>
    </p:spTree>
    <p:extLst>
      <p:ext uri="{BB962C8B-B14F-4D97-AF65-F5344CB8AC3E}">
        <p14:creationId xmlns:p14="http://schemas.microsoft.com/office/powerpoint/2010/main" val="717388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Parent Reported infant race and ethnicity, birth certificate reviewed and entered into newborn chart, parent is asked and race is entered into newborn chart</a:t>
            </a:r>
          </a:p>
          <a:p>
            <a:endParaRPr lang="en-US" dirty="0">
              <a:cs typeface="Calibri"/>
            </a:endParaRPr>
          </a:p>
          <a:p>
            <a:r>
              <a:rPr lang="en-US">
                <a:cs typeface="Calibri"/>
              </a:rPr>
              <a:t> </a:t>
            </a:r>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0</a:t>
            </a:fld>
            <a:endParaRPr lang="en-US"/>
          </a:p>
        </p:txBody>
      </p:sp>
    </p:spTree>
    <p:extLst>
      <p:ext uri="{BB962C8B-B14F-4D97-AF65-F5344CB8AC3E}">
        <p14:creationId xmlns:p14="http://schemas.microsoft.com/office/powerpoint/2010/main" val="36876972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ocumentation of a conversation with parents or caregivers about adjustment to life with a newborn and safe sleep outside of the hospital:</a:t>
            </a:r>
          </a:p>
          <a:p>
            <a:pPr marL="171450" indent="-171450">
              <a:buFont typeface="Calibri"/>
              <a:buChar char="-"/>
            </a:pPr>
            <a:r>
              <a:rPr lang="en-US" dirty="0">
                <a:cs typeface="Calibri"/>
              </a:rPr>
              <a:t>Asking parents about their plans for safe sleep outside of the hospital and discussing anticipated challenges or barriers to safe sleep, sharing recommended safe sleep practices specific to their personal situation</a:t>
            </a:r>
          </a:p>
          <a:p>
            <a:pPr marL="171450" indent="-171450">
              <a:buFont typeface="Calibri"/>
              <a:buChar char="-"/>
            </a:pPr>
            <a:endParaRPr lang="en-US" dirty="0">
              <a:cs typeface="Calibri"/>
            </a:endParaRPr>
          </a:p>
          <a:p>
            <a:pPr marL="171450" indent="-171450">
              <a:buFont typeface="Calibri"/>
              <a:buChar char="-"/>
            </a:pPr>
            <a:r>
              <a:rPr lang="en-US" dirty="0">
                <a:cs typeface="Calibri"/>
              </a:rPr>
              <a:t>Newborn Care Plan at minimum documentation of the following: </a:t>
            </a:r>
          </a:p>
          <a:p>
            <a:pPr lvl="1" indent="-171450">
              <a:buFont typeface="Courier New"/>
              <a:buChar char="o"/>
            </a:pPr>
            <a:r>
              <a:rPr lang="en-US" b="1"/>
              <a:t>parents or caregivers understanding of a safe sleep environment -</a:t>
            </a:r>
            <a:endParaRPr lang="en-US" dirty="0">
              <a:cs typeface="Calibri"/>
            </a:endParaRPr>
          </a:p>
          <a:p>
            <a:pPr lvl="1" indent="-171450">
              <a:buFont typeface="Courier New"/>
              <a:buChar char="o"/>
            </a:pPr>
            <a:r>
              <a:rPr lang="en-US" b="1" dirty="0">
                <a:cs typeface="Calibri"/>
              </a:rPr>
              <a:t>SDOH screening and linkage to needed resources/services</a:t>
            </a:r>
          </a:p>
          <a:p>
            <a:pPr lvl="1" indent="-171450">
              <a:buFont typeface="Courier New"/>
              <a:buChar char="o"/>
            </a:pPr>
            <a:r>
              <a:rPr lang="en-US" b="1" dirty="0">
                <a:cs typeface="Calibri"/>
              </a:rPr>
              <a:t>Transfer of care to community provider</a:t>
            </a:r>
          </a:p>
          <a:p>
            <a:pPr marL="171450" indent="-171450">
              <a:buFont typeface="Calibri"/>
              <a:buChar char="-"/>
            </a:pPr>
            <a:endParaRPr lang="en-US" dirty="0">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1</a:t>
            </a:fld>
            <a:endParaRPr lang="en-US"/>
          </a:p>
        </p:txBody>
      </p:sp>
    </p:spTree>
    <p:extLst>
      <p:ext uri="{BB962C8B-B14F-4D97-AF65-F5344CB8AC3E}">
        <p14:creationId xmlns:p14="http://schemas.microsoft.com/office/powerpoint/2010/main" val="6872594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0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0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1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1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2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23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2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0.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22.bin"/><Relationship Id="rId5" Type="http://schemas.openxmlformats.org/officeDocument/2006/relationships/image" Target="../media/image47.emf"/><Relationship Id="rId4" Type="http://schemas.openxmlformats.org/officeDocument/2006/relationships/oleObject" Target="../embeddings/oleObject21.bin"/></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124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124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2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5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125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2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9.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25.bin"/><Relationship Id="rId5" Type="http://schemas.openxmlformats.org/officeDocument/2006/relationships/image" Target="../media/image47.emf"/><Relationship Id="rId4" Type="http://schemas.openxmlformats.org/officeDocument/2006/relationships/oleObject" Target="../embeddings/oleObject24.bin"/></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26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27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27.bin"/><Relationship Id="rId5" Type="http://schemas.openxmlformats.org/officeDocument/2006/relationships/image" Target="../media/image47.emf"/><Relationship Id="rId4" Type="http://schemas.openxmlformats.org/officeDocument/2006/relationships/oleObject" Target="../embeddings/oleObject26.bin"/></Relationships>
</file>

<file path=ppt/slideLayouts/_rels/slideLayout12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8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128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12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2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2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0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30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xml"/></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xml"/></Relationships>
</file>

<file path=ppt/slideLayouts/_rels/slideLayout130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130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2.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13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2.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2.xml"/></Relationships>
</file>

<file path=ppt/slideLayouts/_rels/slideLayout13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2.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131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2.xml"/></Relationships>
</file>

<file path=ppt/slideLayouts/_rels/slideLayout13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87.png"/><Relationship Id="rId1" Type="http://schemas.openxmlformats.org/officeDocument/2006/relationships/slideMaster" Target="../slideMasters/slideMaster2.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2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2.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3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9.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0.bin"/><Relationship Id="rId5" Type="http://schemas.openxmlformats.org/officeDocument/2006/relationships/image" Target="../media/image47.emf"/><Relationship Id="rId4" Type="http://schemas.openxmlformats.org/officeDocument/2006/relationships/oleObject" Target="../embeddings/oleObject29.bin"/></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13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32.bin"/><Relationship Id="rId5" Type="http://schemas.openxmlformats.org/officeDocument/2006/relationships/image" Target="../media/image47.emf"/><Relationship Id="rId4" Type="http://schemas.openxmlformats.org/officeDocument/2006/relationships/oleObject" Target="../embeddings/oleObject31.bin"/></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134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13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3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13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6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58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0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1.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1.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1.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8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9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97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97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0.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9.bin"/><Relationship Id="rId5" Type="http://schemas.openxmlformats.org/officeDocument/2006/relationships/image" Target="../media/image47.emf"/><Relationship Id="rId4" Type="http://schemas.openxmlformats.org/officeDocument/2006/relationships/oleObject" Target="../embeddings/oleObject18.bin"/></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9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9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4254080"/>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966948"/>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945708624"/>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978660310"/>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5006642"/>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8455168"/>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32099894"/>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8432246"/>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96122673"/>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14867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078108"/>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4366747"/>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7723058"/>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03446966"/>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41208631"/>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38933103"/>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31938511"/>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743364"/>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1462074"/>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63270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90757"/>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057902"/>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634185"/>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72493085"/>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55085444"/>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61958334"/>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197119510"/>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813441"/>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0131857"/>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7082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0562531"/>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38747718"/>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6908274"/>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3643730"/>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58687167"/>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44457799"/>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2234769"/>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11718436"/>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80623742"/>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01647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6493140"/>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0838351"/>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234495"/>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6106992"/>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66750"/>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9664193"/>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6770660"/>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2393760"/>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45771534"/>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8505445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095141"/>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1715567"/>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5559705"/>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99383980"/>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18370166"/>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15581856"/>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5316184"/>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9720928"/>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8099187"/>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05297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6111207"/>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3400963"/>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0761680"/>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77080874"/>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5632236"/>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0946467"/>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35412623"/>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295311"/>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97060"/>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136146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9832835"/>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3143824"/>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858862"/>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2637121"/>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43082088"/>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99828502"/>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43599500"/>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43100962"/>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7029293"/>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0686366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1357471"/>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4467170"/>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246571"/>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6668322"/>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978124"/>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0602772"/>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942257"/>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1712325"/>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2724371"/>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30372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12894070"/>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67365997"/>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type="obj" preserve="1">
  <p:cSld name="4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548462"/>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14473618"/>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038943"/>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6427918"/>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0214597"/>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82630291"/>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9941528"/>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73416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313475"/>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6313469"/>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7494341"/>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51403352"/>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63472160"/>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8711386"/>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reserve="1" userDrawn="1">
  <p:cSld name="3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85671479"/>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5846320"/>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4099270"/>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0521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1313066"/>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3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22939689"/>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3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86013079"/>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39060813"/>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titleOnly" preserve="1">
  <p:cSld name="3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9109455"/>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54066541"/>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47860288"/>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153828"/>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type="obj" preserve="1">
  <p:cSld name="7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3590353"/>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6972426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5096314"/>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8570082"/>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3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29656584"/>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3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34997953"/>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type="blank" preserve="1">
  <p:cSld name="3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52592699"/>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900462"/>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type="obj" preserve="1">
  <p:cSld name="4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9504743"/>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type="twoObj" preserve="1">
  <p:cSld name="3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6776171"/>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5943008"/>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type="titleOnly" preserve="1">
  <p:cSld name="3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524149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3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64036049"/>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type="blank" preserve="1">
  <p:cSld name="3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7256080"/>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obj" preserve="1">
  <p:cSld name="8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4406471"/>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14012554"/>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438846393"/>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19971891"/>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3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52897146"/>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96998023"/>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obj" preserve="1">
  <p:cSld name="8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15890552"/>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150902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type="obj" preserve="1">
  <p:cSld name="8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25905723"/>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type="obj" preserve="1">
  <p:cSld name="5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768575"/>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6962456"/>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5619131"/>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524647"/>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2899755"/>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9090932"/>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4930165"/>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99968619"/>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type="obj" preserve="1">
  <p:cSld name="8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74102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1745480"/>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3155475"/>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3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9673356"/>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865134740"/>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76129"/>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obj" preserve="1">
  <p:cSld name="5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0255712"/>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twoObj" preserve="1">
  <p:cSld name="3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27216607"/>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800594"/>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64387289"/>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3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27118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78213968"/>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765961"/>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3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37836905"/>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3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241727339"/>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180606"/>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obj" preserve="1">
  <p:cSld name="5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8795183"/>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twoObj" preserve="1">
  <p:cSld name="3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05350785"/>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1912704"/>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itleOnly" preserve="1">
  <p:cSld name="3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8970817"/>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3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251784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blank" preserve="1">
  <p:cSld name="3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751450915"/>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type="obj" preserve="1">
  <p:cSld name="9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0227486"/>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63048501"/>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3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0496402"/>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69582405"/>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obj" preserve="1">
  <p:cSld name="9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250648"/>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1597973"/>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twoObj" preserve="1">
  <p:cSld name="3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8645114"/>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8484098"/>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type="titleOnly" preserve="1">
  <p:cSld name="3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428664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3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4919237"/>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type="blank" preserve="1">
  <p:cSld name="3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20678726"/>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05027241"/>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obj" preserve="1">
  <p:cSld name="9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5718643"/>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obj" preserve="1">
  <p:cSld name="9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5223882"/>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62291614"/>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855819518"/>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6826123"/>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77016840"/>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804456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1160232"/>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121985038"/>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01186227"/>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668315"/>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00403344"/>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841739600"/>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70432828"/>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077810434"/>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1001042"/>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378381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5022405"/>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15911041"/>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28224431"/>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94869946"/>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34112234"/>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33192793"/>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472344358"/>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7891677"/>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63372495"/>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35327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1850853"/>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44253178"/>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69588142"/>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33206821"/>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003530"/>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64508364"/>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5230887"/>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userDrawn="1">
  <p:cSld name="2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51706158"/>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2601060"/>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6556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4460803"/>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58445276"/>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cSld name="6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414366"/>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9423819"/>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90974035"/>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96043071"/>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83275561"/>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8597090"/>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4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88620854"/>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4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231127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obj" preserve="1">
  <p:cSld name="9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2996463"/>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obj" preserve="1">
  <p:cSld name="6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2807618"/>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46251"/>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7771846"/>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titleOnly" preserve="1">
  <p:cSld name="3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59758248"/>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85240274"/>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type="blank" preserve="1">
  <p:cSld name="3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8909687"/>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807848033"/>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5307353"/>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matchingName="Title and Content">
  <p:cSld name="65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5027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61261567"/>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233093275"/>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9094741"/>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204548"/>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727773"/>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8766939"/>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650427507"/>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853171108"/>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805973"/>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5672808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836639575"/>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matchingName="Title and Content">
  <p:cSld name="68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6728638"/>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38350718"/>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727605722"/>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userDrawn="1">
  <p:cSld name="2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6163365"/>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819422645"/>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738164"/>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4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64324874"/>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4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63531789"/>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4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5637912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25666729"/>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type="obj" preserve="1">
  <p:cSld name="9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7516824"/>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obj" preserve="1">
  <p:cSld name="6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0746712"/>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twoObj" preserve="1">
  <p:cSld name="4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2597929"/>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42091233"/>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11113065"/>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4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59846461"/>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type="blank" preserve="1">
  <p:cSld name="4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5553691"/>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65017117"/>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p:cSld name="6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058877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1861664"/>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021598"/>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8725819"/>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46506546"/>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293011989"/>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matchingName="Title and Content">
  <p:cSld name="7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84335826"/>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29734232"/>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948400681"/>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userDrawn="1">
  <p:cSld name="2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2991475842"/>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48228115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43710602"/>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884895618"/>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38939846"/>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096714355"/>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749013803"/>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type="obj" preserve="1">
  <p:cSld name="9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8261280"/>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type="obj" preserve="1">
  <p:cSld name="9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34032743"/>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9094909"/>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type="obj" preserve="1">
  <p:cSld name="10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6275345"/>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47654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4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63225525"/>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preserve="1" userDrawn="1">
  <p:cSld name="4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2085743"/>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type="obj" preserve="1">
  <p:cSld name="10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5745974"/>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type="obj" preserve="1">
  <p:cSld name="10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8209444"/>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79542393"/>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49647863"/>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1262265"/>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type="twoObj" preserve="1">
  <p:cSld name="4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7680179"/>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713722"/>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type="titleOnly" preserve="1">
  <p:cSld name="4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55012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preserve="1" userDrawn="1">
  <p:cSld name="4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972685"/>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blank" preserve="1">
  <p:cSld name="4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96280440"/>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matchingName="Title and Content">
  <p:cSld name="7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2437044"/>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41909214"/>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908379509"/>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670361"/>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userDrawn="1">
  <p:cSld name="4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28262214"/>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58101283"/>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77054"/>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660169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704845964"/>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570458450"/>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userDrawn="1">
  <p:cSld name="7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110439"/>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65129"/>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063965082"/>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845704"/>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userDrawn="1">
  <p:cSld name="2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788744383"/>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userDrawn="1">
  <p:cSld name="2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03370322"/>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729761666"/>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userDrawn="1">
  <p:cSld name="2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7705381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562344785"/>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444696"/>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userDrawn="1">
  <p:cSld name="2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1238268420"/>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518987221"/>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p:cSld name="7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8751995"/>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0207748"/>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5982951"/>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p:cSld name="7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065007"/>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1792088"/>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showMasterSp="0"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24294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271573807"/>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174866711"/>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matchingName="Title and Content">
  <p:cSld name="7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64364310"/>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583842710"/>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83133330"/>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userDrawn="1">
  <p:cSld name="5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991890913"/>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89193353"/>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4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06056799"/>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preserve="1" userDrawn="1">
  <p:cSld name="4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7647485"/>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8595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type="obj" preserve="1">
  <p:cSld name="7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2602465"/>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type="twoObj" preserve="1">
  <p:cSld name="4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0290727"/>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232004"/>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type="titleOnly" preserve="1">
  <p:cSld name="4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9189696"/>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4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07244606"/>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type="blank" preserve="1">
  <p:cSld name="4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10054707"/>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matchingName="Photo Slide">
  <p:cSld name="4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1330558"/>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showMasterSp="0"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378702589"/>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showMasterSp="0"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11791181"/>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8088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type="obj" preserve="1">
  <p:cSld name="10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71047129"/>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type="obj" preserve="1">
  <p:cSld name="10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3668949"/>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type="obj" preserve="1">
  <p:cSld name="1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8356704"/>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0170108"/>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4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31152560"/>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4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56982923"/>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type="obj" preserve="1">
  <p:cSld name="1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7172192"/>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type="obj" preserve="1">
  <p:cSld name="1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590534"/>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type="obj" preserve="1">
  <p:cSld name="1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235462"/>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149693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type="obj" preserve="1">
  <p:cSld name="7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6009079"/>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type="twoObj" preserve="1">
  <p:cSld name="4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9198842"/>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type="twoTxTwoObj" preserve="1">
  <p:cSld name="4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38456796"/>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titleOnly" preserve="1">
  <p:cSld name="4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466743"/>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reserve="1" userDrawn="1">
  <p:cSld name="4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5509890"/>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type="blank" preserve="1">
  <p:cSld name="4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5015277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78304546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293197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55053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2919898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9057967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195588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05827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5879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0908461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422117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73680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41846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925697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176386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0764009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876459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98000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15855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274610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69400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402952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90592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67063077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23259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729815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2479938"/>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629670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5432313"/>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9056666"/>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6769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446465"/>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1079854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8675539"/>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11/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11/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2248109"/>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2824906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1565514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62855407"/>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5905"/>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8018985"/>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3852074"/>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08673188"/>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241388"/>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0251682"/>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66027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7038014"/>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51193254"/>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5033953"/>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20263086"/>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972685"/>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636893"/>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02425385"/>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6030827"/>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3943296"/>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56956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5535348"/>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25594533"/>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1469619"/>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4564841"/>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454966026"/>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009905"/>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29445205"/>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0091180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6135247"/>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18617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788439"/>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787223"/>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0606863"/>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4030843"/>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88264017"/>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6011811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609859"/>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25449869"/>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15068536"/>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33348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7300262"/>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47225440"/>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1735149"/>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04945590"/>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9571665"/>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74037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4104072"/>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4913747"/>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596403"/>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864348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4416969"/>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65626881"/>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5031512"/>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4377172"/>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450957"/>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253097"/>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7838219"/>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6207789"/>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85190849"/>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338421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37910379"/>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27201667"/>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072634230"/>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450529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0179259"/>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8520828"/>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9120567"/>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0056760"/>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2662542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72754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54039860"/>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82661367"/>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341189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226780"/>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17705470"/>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58830055"/>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30752121"/>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73632738"/>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144093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3217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6012154"/>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7365490"/>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6672969"/>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352784"/>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77459683"/>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1586515"/>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4257207"/>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1187486"/>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6050142"/>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03333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7386256"/>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2389978"/>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5788077"/>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288766"/>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19168215"/>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09294127"/>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0791873"/>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96566223"/>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162847"/>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38065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0484528"/>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64751158"/>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2584017"/>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4653779"/>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507472"/>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8568015"/>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26239605"/>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5009034"/>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48763561"/>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27669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3340930"/>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27210310"/>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66975113"/>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8682359"/>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415566"/>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6470723"/>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2395301"/>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99206419"/>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0097652"/>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448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6848039"/>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5568149"/>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5585598"/>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99665034"/>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195049"/>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11787088"/>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2036254"/>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62415355"/>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2908332"/>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50548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0363243"/>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8921045"/>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65178759"/>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6599403"/>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51301500"/>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19150891"/>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84835129"/>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2293898"/>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39747466"/>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2008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3623515"/>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28485"/>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8530024"/>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38544240"/>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46275176"/>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07614"/>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589832"/>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30811103"/>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95178971"/>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91738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5090162"/>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22548309"/>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548695"/>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8235244"/>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2038667"/>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88696414"/>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29066697"/>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79691680"/>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8401454"/>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129442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9231021"/>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1332576"/>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6252886"/>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5532872"/>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6065673"/>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14040041"/>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67659655"/>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2760784"/>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19303961"/>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366251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50857402"/>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29615767"/>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0495944"/>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3452641"/>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60270328"/>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8292891"/>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0207035"/>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2937325"/>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96125234"/>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245546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1333769"/>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511005"/>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9635689"/>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523948"/>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583744"/>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0280334"/>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44048356"/>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43936602"/>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96639294"/>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6116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7437917"/>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4787861"/>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969845"/>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51075625"/>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9196001"/>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7404334"/>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3248757"/>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749642"/>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392445"/>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527401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61086381"/>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13081792"/>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1989815"/>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47235685"/>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5512657"/>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432632"/>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2512517"/>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7381523"/>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7761632"/>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65001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75898557"/>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80692851"/>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36059570"/>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81359274"/>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3434421"/>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7839871"/>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3118718"/>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5398886"/>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01061897"/>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45805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52419085"/>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7024164"/>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8880880"/>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1395252"/>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1700673"/>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43727484"/>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8411429"/>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17001085"/>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4563164"/>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74918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6930286"/>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2509494"/>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99211572"/>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4501710"/>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52955111"/>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158347759"/>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850973894"/>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367552"/>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47618820"/>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821607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2489967"/>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08663933"/>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68038259"/>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8505181"/>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5199286"/>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03438688"/>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11119815"/>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19698325"/>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2455564"/>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760317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15722703"/>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01078440"/>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68827643"/>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15985653"/>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23751779"/>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38504173"/>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5824853"/>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751292139"/>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14267480"/>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6301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4510172"/>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93974506"/>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35212804"/>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02857452"/>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22736497"/>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55899102"/>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462317"/>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190356"/>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54571416"/>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7663589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46585229"/>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7343377"/>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878452"/>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6337092"/>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2334135"/>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37881236"/>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63616759"/>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075704"/>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449957"/>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77273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6621005"/>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00432959"/>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9972125"/>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55945728"/>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4702205"/>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656722"/>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8893342"/>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9490538"/>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2954919"/>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50737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73829391"/>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611055085"/>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053550"/>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matchingName="Title and Content">
  <p:cSld name="3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62371544"/>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59845480"/>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63160328"/>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32118961"/>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871570518"/>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83487925"/>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08667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36847893"/>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14182425"/>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05992093"/>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60706365"/>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413853"/>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3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30037952"/>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94162278"/>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86060377"/>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8396179"/>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type="obj" preserve="1">
  <p:cSld name="3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452215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4574295"/>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5904584"/>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488966"/>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60154137"/>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37002741"/>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6820670"/>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811652623"/>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03562607"/>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96319435"/>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19493262"/>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671" Type="http://schemas.openxmlformats.org/officeDocument/2006/relationships/slideLayout" Target="../slideLayouts/slideLayout671.xml"/><Relationship Id="rId21" Type="http://schemas.openxmlformats.org/officeDocument/2006/relationships/slideLayout" Target="../slideLayouts/slideLayout21.xml"/><Relationship Id="rId324" Type="http://schemas.openxmlformats.org/officeDocument/2006/relationships/slideLayout" Target="../slideLayouts/slideLayout324.xml"/><Relationship Id="rId531" Type="http://schemas.openxmlformats.org/officeDocument/2006/relationships/slideLayout" Target="../slideLayouts/slideLayout531.xml"/><Relationship Id="rId629" Type="http://schemas.openxmlformats.org/officeDocument/2006/relationships/slideLayout" Target="../slideLayouts/slideLayout629.xml"/><Relationship Id="rId170" Type="http://schemas.openxmlformats.org/officeDocument/2006/relationships/slideLayout" Target="../slideLayouts/slideLayout170.xml"/><Relationship Id="rId268" Type="http://schemas.openxmlformats.org/officeDocument/2006/relationships/slideLayout" Target="../slideLayouts/slideLayout268.xml"/><Relationship Id="rId475" Type="http://schemas.openxmlformats.org/officeDocument/2006/relationships/slideLayout" Target="../slideLayouts/slideLayout475.xml"/><Relationship Id="rId682" Type="http://schemas.openxmlformats.org/officeDocument/2006/relationships/theme" Target="../theme/theme1.xml"/><Relationship Id="rId32" Type="http://schemas.openxmlformats.org/officeDocument/2006/relationships/slideLayout" Target="../slideLayouts/slideLayout32.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42" Type="http://schemas.openxmlformats.org/officeDocument/2006/relationships/slideLayout" Target="../slideLayouts/slideLayout542.xml"/><Relationship Id="rId181" Type="http://schemas.openxmlformats.org/officeDocument/2006/relationships/slideLayout" Target="../slideLayouts/slideLayout181.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86" Type="http://schemas.openxmlformats.org/officeDocument/2006/relationships/slideLayout" Target="../slideLayouts/slideLayout486.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346" Type="http://schemas.openxmlformats.org/officeDocument/2006/relationships/slideLayout" Target="../slideLayouts/slideLayout346.xml"/><Relationship Id="rId553" Type="http://schemas.openxmlformats.org/officeDocument/2006/relationships/slideLayout" Target="../slideLayouts/slideLayout553.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497" Type="http://schemas.openxmlformats.org/officeDocument/2006/relationships/slideLayout" Target="../slideLayouts/slideLayout497.xml"/><Relationship Id="rId620" Type="http://schemas.openxmlformats.org/officeDocument/2006/relationships/slideLayout" Target="../slideLayouts/slideLayout620.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217" Type="http://schemas.openxmlformats.org/officeDocument/2006/relationships/slideLayout" Target="../slideLayouts/slideLayout217.xml"/><Relationship Id="rId564" Type="http://schemas.openxmlformats.org/officeDocument/2006/relationships/slideLayout" Target="../slideLayouts/slideLayout564.xml"/><Relationship Id="rId424" Type="http://schemas.openxmlformats.org/officeDocument/2006/relationships/slideLayout" Target="../slideLayouts/slideLayout424.xml"/><Relationship Id="rId631" Type="http://schemas.openxmlformats.org/officeDocument/2006/relationships/slideLayout" Target="../slideLayouts/slideLayout631.xml"/><Relationship Id="rId270" Type="http://schemas.openxmlformats.org/officeDocument/2006/relationships/slideLayout" Target="../slideLayouts/slideLayout270.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575" Type="http://schemas.openxmlformats.org/officeDocument/2006/relationships/slideLayout" Target="../slideLayouts/slideLayout575.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642" Type="http://schemas.openxmlformats.org/officeDocument/2006/relationships/slideLayout" Target="../slideLayouts/slideLayout642.xml"/><Relationship Id="rId281" Type="http://schemas.openxmlformats.org/officeDocument/2006/relationships/slideLayout" Target="../slideLayouts/slideLayout281.xml"/><Relationship Id="rId502" Type="http://schemas.openxmlformats.org/officeDocument/2006/relationships/slideLayout" Target="../slideLayouts/slideLayout502.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586" Type="http://schemas.openxmlformats.org/officeDocument/2006/relationships/slideLayout" Target="../slideLayouts/slideLayout586.xml"/><Relationship Id="rId7" Type="http://schemas.openxmlformats.org/officeDocument/2006/relationships/slideLayout" Target="../slideLayouts/slideLayout7.xml"/><Relationship Id="rId239" Type="http://schemas.openxmlformats.org/officeDocument/2006/relationships/slideLayout" Target="../slideLayouts/slideLayout239.xml"/><Relationship Id="rId446" Type="http://schemas.openxmlformats.org/officeDocument/2006/relationships/slideLayout" Target="../slideLayouts/slideLayout446.xml"/><Relationship Id="rId653" Type="http://schemas.openxmlformats.org/officeDocument/2006/relationships/slideLayout" Target="../slideLayouts/slideLayout653.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87" Type="http://schemas.openxmlformats.org/officeDocument/2006/relationships/slideLayout" Target="../slideLayouts/slideLayout87.xml"/><Relationship Id="rId513" Type="http://schemas.openxmlformats.org/officeDocument/2006/relationships/slideLayout" Target="../slideLayouts/slideLayout513.xml"/><Relationship Id="rId597" Type="http://schemas.openxmlformats.org/officeDocument/2006/relationships/slideLayout" Target="../slideLayouts/slideLayout597.xml"/><Relationship Id="rId152" Type="http://schemas.openxmlformats.org/officeDocument/2006/relationships/slideLayout" Target="../slideLayouts/slideLayout152.xml"/><Relationship Id="rId457" Type="http://schemas.openxmlformats.org/officeDocument/2006/relationships/slideLayout" Target="../slideLayouts/slideLayout457.xml"/><Relationship Id="rId664" Type="http://schemas.openxmlformats.org/officeDocument/2006/relationships/slideLayout" Target="../slideLayouts/slideLayout664.xml"/><Relationship Id="rId14" Type="http://schemas.openxmlformats.org/officeDocument/2006/relationships/slideLayout" Target="../slideLayouts/slideLayout14.xml"/><Relationship Id="rId317" Type="http://schemas.openxmlformats.org/officeDocument/2006/relationships/slideLayout" Target="../slideLayouts/slideLayout317.xml"/><Relationship Id="rId524" Type="http://schemas.openxmlformats.org/officeDocument/2006/relationships/slideLayout" Target="../slideLayouts/slideLayout524.xml"/><Relationship Id="rId98" Type="http://schemas.openxmlformats.org/officeDocument/2006/relationships/slideLayout" Target="../slideLayouts/slideLayout98.xml"/><Relationship Id="rId163" Type="http://schemas.openxmlformats.org/officeDocument/2006/relationships/slideLayout" Target="../slideLayouts/slideLayout163.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675" Type="http://schemas.openxmlformats.org/officeDocument/2006/relationships/slideLayout" Target="../slideLayouts/slideLayout675.xml"/><Relationship Id="rId25" Type="http://schemas.openxmlformats.org/officeDocument/2006/relationships/slideLayout" Target="../slideLayouts/slideLayout25.xml"/><Relationship Id="rId328" Type="http://schemas.openxmlformats.org/officeDocument/2006/relationships/slideLayout" Target="../slideLayouts/slideLayout328.xml"/><Relationship Id="rId535" Type="http://schemas.openxmlformats.org/officeDocument/2006/relationships/slideLayout" Target="../slideLayouts/slideLayout535.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602" Type="http://schemas.openxmlformats.org/officeDocument/2006/relationships/slideLayout" Target="../slideLayouts/slideLayout602.xml"/><Relationship Id="rId241" Type="http://schemas.openxmlformats.org/officeDocument/2006/relationships/slideLayout" Target="../slideLayouts/slideLayout241.xml"/><Relationship Id="rId479" Type="http://schemas.openxmlformats.org/officeDocument/2006/relationships/slideLayout" Target="../slideLayouts/slideLayout479.xml"/><Relationship Id="rId36" Type="http://schemas.openxmlformats.org/officeDocument/2006/relationships/slideLayout" Target="../slideLayouts/slideLayout36.xml"/><Relationship Id="rId339" Type="http://schemas.openxmlformats.org/officeDocument/2006/relationships/slideLayout" Target="../slideLayouts/slideLayout339.xml"/><Relationship Id="rId546" Type="http://schemas.openxmlformats.org/officeDocument/2006/relationships/slideLayout" Target="../slideLayouts/slideLayout546.xml"/><Relationship Id="rId101" Type="http://schemas.openxmlformats.org/officeDocument/2006/relationships/slideLayout" Target="../slideLayouts/slideLayout101.xml"/><Relationship Id="rId185" Type="http://schemas.openxmlformats.org/officeDocument/2006/relationships/slideLayout" Target="../slideLayouts/slideLayout185.xml"/><Relationship Id="rId406" Type="http://schemas.openxmlformats.org/officeDocument/2006/relationships/slideLayout" Target="../slideLayouts/slideLayout406.xml"/><Relationship Id="rId392" Type="http://schemas.openxmlformats.org/officeDocument/2006/relationships/slideLayout" Target="../slideLayouts/slideLayout392.xml"/><Relationship Id="rId613" Type="http://schemas.openxmlformats.org/officeDocument/2006/relationships/slideLayout" Target="../slideLayouts/slideLayout613.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112" Type="http://schemas.openxmlformats.org/officeDocument/2006/relationships/slideLayout" Target="../slideLayouts/slideLayout112.xml"/><Relationship Id="rId557" Type="http://schemas.openxmlformats.org/officeDocument/2006/relationships/slideLayout" Target="../slideLayouts/slideLayout557.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624" Type="http://schemas.openxmlformats.org/officeDocument/2006/relationships/slideLayout" Target="../slideLayouts/slideLayout624.xml"/><Relationship Id="rId263" Type="http://schemas.openxmlformats.org/officeDocument/2006/relationships/slideLayout" Target="../slideLayouts/slideLayout263.xml"/><Relationship Id="rId470" Type="http://schemas.openxmlformats.org/officeDocument/2006/relationships/slideLayout" Target="../slideLayouts/slideLayout470.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568" Type="http://schemas.openxmlformats.org/officeDocument/2006/relationships/slideLayout" Target="../slideLayouts/slideLayout568.xml"/><Relationship Id="rId428" Type="http://schemas.openxmlformats.org/officeDocument/2006/relationships/slideLayout" Target="../slideLayouts/slideLayout428.xml"/><Relationship Id="rId635" Type="http://schemas.openxmlformats.org/officeDocument/2006/relationships/slideLayout" Target="../slideLayouts/slideLayout635.xml"/><Relationship Id="rId274" Type="http://schemas.openxmlformats.org/officeDocument/2006/relationships/slideLayout" Target="../slideLayouts/slideLayout274.xml"/><Relationship Id="rId481" Type="http://schemas.openxmlformats.org/officeDocument/2006/relationships/slideLayout" Target="../slideLayouts/slideLayout481.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579" Type="http://schemas.openxmlformats.org/officeDocument/2006/relationships/slideLayout" Target="../slideLayouts/slideLayout579.xml"/><Relationship Id="rId341" Type="http://schemas.openxmlformats.org/officeDocument/2006/relationships/slideLayout" Target="../slideLayouts/slideLayout341.xml"/><Relationship Id="rId439" Type="http://schemas.openxmlformats.org/officeDocument/2006/relationships/slideLayout" Target="../slideLayouts/slideLayout439.xml"/><Relationship Id="rId646" Type="http://schemas.openxmlformats.org/officeDocument/2006/relationships/slideLayout" Target="../slideLayouts/slideLayout646.xml"/><Relationship Id="rId201" Type="http://schemas.openxmlformats.org/officeDocument/2006/relationships/slideLayout" Target="../slideLayouts/slideLayout201.xml"/><Relationship Id="rId285" Type="http://schemas.openxmlformats.org/officeDocument/2006/relationships/slideLayout" Target="../slideLayouts/slideLayout285.xml"/><Relationship Id="rId506" Type="http://schemas.openxmlformats.org/officeDocument/2006/relationships/slideLayout" Target="../slideLayouts/slideLayout506.xml"/><Relationship Id="rId492" Type="http://schemas.openxmlformats.org/officeDocument/2006/relationships/slideLayout" Target="../slideLayouts/slideLayout492.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87" Type="http://schemas.openxmlformats.org/officeDocument/2006/relationships/slideLayout" Target="../slideLayouts/slideLayout187.xml"/><Relationship Id="rId352" Type="http://schemas.openxmlformats.org/officeDocument/2006/relationships/slideLayout" Target="../slideLayouts/slideLayout352.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615" Type="http://schemas.openxmlformats.org/officeDocument/2006/relationships/slideLayout" Target="../slideLayouts/slideLayout615.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657" Type="http://schemas.openxmlformats.org/officeDocument/2006/relationships/slideLayout" Target="../slideLayouts/slideLayout657.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461" Type="http://schemas.openxmlformats.org/officeDocument/2006/relationships/slideLayout" Target="../slideLayouts/slideLayout461.xml"/><Relationship Id="rId517" Type="http://schemas.openxmlformats.org/officeDocument/2006/relationships/slideLayout" Target="../slideLayouts/slideLayout517.xml"/><Relationship Id="rId559" Type="http://schemas.openxmlformats.org/officeDocument/2006/relationships/slideLayout" Target="../slideLayouts/slideLayout559.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570" Type="http://schemas.openxmlformats.org/officeDocument/2006/relationships/slideLayout" Target="../slideLayouts/slideLayout570.xml"/><Relationship Id="rId626" Type="http://schemas.openxmlformats.org/officeDocument/2006/relationships/slideLayout" Target="../slideLayouts/slideLayout626.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668" Type="http://schemas.openxmlformats.org/officeDocument/2006/relationships/slideLayout" Target="../slideLayouts/slideLayout668.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slideLayout" Target="../slideLayouts/slideLayout472.xml"/><Relationship Id="rId528" Type="http://schemas.openxmlformats.org/officeDocument/2006/relationships/slideLayout" Target="../slideLayouts/slideLayout528.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581" Type="http://schemas.openxmlformats.org/officeDocument/2006/relationships/slideLayout" Target="../slideLayouts/slideLayout581.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637" Type="http://schemas.openxmlformats.org/officeDocument/2006/relationships/slideLayout" Target="../slideLayouts/slideLayout637.xml"/><Relationship Id="rId679" Type="http://schemas.openxmlformats.org/officeDocument/2006/relationships/slideLayout" Target="../slideLayouts/slideLayout679.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83" Type="http://schemas.openxmlformats.org/officeDocument/2006/relationships/slideLayout" Target="../slideLayouts/slideLayout483.xml"/><Relationship Id="rId539" Type="http://schemas.openxmlformats.org/officeDocument/2006/relationships/slideLayout" Target="../slideLayouts/slideLayout539.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550" Type="http://schemas.openxmlformats.org/officeDocument/2006/relationships/slideLayout" Target="../slideLayouts/slideLayout550.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592" Type="http://schemas.openxmlformats.org/officeDocument/2006/relationships/slideLayout" Target="../slideLayouts/slideLayout592.xml"/><Relationship Id="rId606" Type="http://schemas.openxmlformats.org/officeDocument/2006/relationships/slideLayout" Target="../slideLayouts/slideLayout606.xml"/><Relationship Id="rId648" Type="http://schemas.openxmlformats.org/officeDocument/2006/relationships/slideLayout" Target="../slideLayouts/slideLayout648.xml"/><Relationship Id="rId245" Type="http://schemas.openxmlformats.org/officeDocument/2006/relationships/slideLayout" Target="../slideLayouts/slideLayout245.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52" Type="http://schemas.openxmlformats.org/officeDocument/2006/relationships/slideLayout" Target="../slideLayouts/slideLayout452.xml"/><Relationship Id="rId494" Type="http://schemas.openxmlformats.org/officeDocument/2006/relationships/slideLayout" Target="../slideLayouts/slideLayout494.xml"/><Relationship Id="rId508" Type="http://schemas.openxmlformats.org/officeDocument/2006/relationships/slideLayout" Target="../slideLayouts/slideLayout508.xml"/><Relationship Id="rId105" Type="http://schemas.openxmlformats.org/officeDocument/2006/relationships/slideLayout" Target="../slideLayouts/slideLayout105.xml"/><Relationship Id="rId147" Type="http://schemas.openxmlformats.org/officeDocument/2006/relationships/slideLayout" Target="../slideLayouts/slideLayout147.xml"/><Relationship Id="rId312" Type="http://schemas.openxmlformats.org/officeDocument/2006/relationships/slideLayout" Target="../slideLayouts/slideLayout312.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96" Type="http://schemas.openxmlformats.org/officeDocument/2006/relationships/slideLayout" Target="../slideLayouts/slideLayout396.xml"/><Relationship Id="rId561" Type="http://schemas.openxmlformats.org/officeDocument/2006/relationships/slideLayout" Target="../slideLayouts/slideLayout561.xml"/><Relationship Id="rId617" Type="http://schemas.openxmlformats.org/officeDocument/2006/relationships/slideLayout" Target="../slideLayouts/slideLayout617.xml"/><Relationship Id="rId659" Type="http://schemas.openxmlformats.org/officeDocument/2006/relationships/slideLayout" Target="../slideLayouts/slideLayout659.xml"/><Relationship Id="rId214" Type="http://schemas.openxmlformats.org/officeDocument/2006/relationships/slideLayout" Target="../slideLayouts/slideLayout214.xml"/><Relationship Id="rId256" Type="http://schemas.openxmlformats.org/officeDocument/2006/relationships/slideLayout" Target="../slideLayouts/slideLayout256.xml"/><Relationship Id="rId298" Type="http://schemas.openxmlformats.org/officeDocument/2006/relationships/slideLayout" Target="../slideLayouts/slideLayout298.xml"/><Relationship Id="rId421" Type="http://schemas.openxmlformats.org/officeDocument/2006/relationships/slideLayout" Target="../slideLayouts/slideLayout421.xml"/><Relationship Id="rId463" Type="http://schemas.openxmlformats.org/officeDocument/2006/relationships/slideLayout" Target="../slideLayouts/slideLayout463.xml"/><Relationship Id="rId519" Type="http://schemas.openxmlformats.org/officeDocument/2006/relationships/slideLayout" Target="../slideLayouts/slideLayout519.xml"/><Relationship Id="rId670" Type="http://schemas.openxmlformats.org/officeDocument/2006/relationships/slideLayout" Target="../slideLayouts/slideLayout670.xml"/><Relationship Id="rId116" Type="http://schemas.openxmlformats.org/officeDocument/2006/relationships/slideLayout" Target="../slideLayouts/slideLayout116.xml"/><Relationship Id="rId158" Type="http://schemas.openxmlformats.org/officeDocument/2006/relationships/slideLayout" Target="../slideLayouts/slideLayout158.xml"/><Relationship Id="rId323" Type="http://schemas.openxmlformats.org/officeDocument/2006/relationships/slideLayout" Target="../slideLayouts/slideLayout323.xml"/><Relationship Id="rId530" Type="http://schemas.openxmlformats.org/officeDocument/2006/relationships/slideLayout" Target="../slideLayouts/slideLayout530.xml"/><Relationship Id="rId20" Type="http://schemas.openxmlformats.org/officeDocument/2006/relationships/slideLayout" Target="../slideLayouts/slideLayout20.xml"/><Relationship Id="rId62" Type="http://schemas.openxmlformats.org/officeDocument/2006/relationships/slideLayout" Target="../slideLayouts/slideLayout62.xml"/><Relationship Id="rId365" Type="http://schemas.openxmlformats.org/officeDocument/2006/relationships/slideLayout" Target="../slideLayouts/slideLayout365.xml"/><Relationship Id="rId572" Type="http://schemas.openxmlformats.org/officeDocument/2006/relationships/slideLayout" Target="../slideLayouts/slideLayout572.xml"/><Relationship Id="rId628" Type="http://schemas.openxmlformats.org/officeDocument/2006/relationships/slideLayout" Target="../slideLayouts/slideLayout628.xml"/><Relationship Id="rId225" Type="http://schemas.openxmlformats.org/officeDocument/2006/relationships/slideLayout" Target="../slideLayouts/slideLayout225.xml"/><Relationship Id="rId267" Type="http://schemas.openxmlformats.org/officeDocument/2006/relationships/slideLayout" Target="../slideLayouts/slideLayout267.xml"/><Relationship Id="rId432" Type="http://schemas.openxmlformats.org/officeDocument/2006/relationships/slideLayout" Target="../slideLayouts/slideLayout432.xml"/><Relationship Id="rId474" Type="http://schemas.openxmlformats.org/officeDocument/2006/relationships/slideLayout" Target="../slideLayouts/slideLayout474.xml"/><Relationship Id="rId127" Type="http://schemas.openxmlformats.org/officeDocument/2006/relationships/slideLayout" Target="../slideLayouts/slideLayout127.xml"/><Relationship Id="rId681" Type="http://schemas.openxmlformats.org/officeDocument/2006/relationships/slideLayout" Target="../slideLayouts/slideLayout681.xml"/><Relationship Id="rId31" Type="http://schemas.openxmlformats.org/officeDocument/2006/relationships/slideLayout" Target="../slideLayouts/slideLayout31.xml"/><Relationship Id="rId73" Type="http://schemas.openxmlformats.org/officeDocument/2006/relationships/slideLayout" Target="../slideLayouts/slideLayout73.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76" Type="http://schemas.openxmlformats.org/officeDocument/2006/relationships/slideLayout" Target="../slideLayouts/slideLayout376.xml"/><Relationship Id="rId541" Type="http://schemas.openxmlformats.org/officeDocument/2006/relationships/slideLayout" Target="../slideLayouts/slideLayout541.xml"/><Relationship Id="rId583" Type="http://schemas.openxmlformats.org/officeDocument/2006/relationships/slideLayout" Target="../slideLayouts/slideLayout583.xml"/><Relationship Id="rId639" Type="http://schemas.openxmlformats.org/officeDocument/2006/relationships/slideLayout" Target="../slideLayouts/slideLayout63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36" Type="http://schemas.openxmlformats.org/officeDocument/2006/relationships/slideLayout" Target="../slideLayouts/slideLayout236.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43" Type="http://schemas.openxmlformats.org/officeDocument/2006/relationships/slideLayout" Target="../slideLayouts/slideLayout443.xml"/><Relationship Id="rId650" Type="http://schemas.openxmlformats.org/officeDocument/2006/relationships/slideLayout" Target="../slideLayouts/slideLayout650.xml"/><Relationship Id="rId303" Type="http://schemas.openxmlformats.org/officeDocument/2006/relationships/slideLayout" Target="../slideLayouts/slideLayout303.xml"/><Relationship Id="rId485" Type="http://schemas.openxmlformats.org/officeDocument/2006/relationships/slideLayout" Target="../slideLayouts/slideLayout485.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510" Type="http://schemas.openxmlformats.org/officeDocument/2006/relationships/slideLayout" Target="../slideLayouts/slideLayout510.xml"/><Relationship Id="rId552" Type="http://schemas.openxmlformats.org/officeDocument/2006/relationships/slideLayout" Target="../slideLayouts/slideLayout552.xml"/><Relationship Id="rId594" Type="http://schemas.openxmlformats.org/officeDocument/2006/relationships/slideLayout" Target="../slideLayouts/slideLayout594.xml"/><Relationship Id="rId608" Type="http://schemas.openxmlformats.org/officeDocument/2006/relationships/slideLayout" Target="../slideLayouts/slideLayout60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496" Type="http://schemas.openxmlformats.org/officeDocument/2006/relationships/slideLayout" Target="../slideLayouts/slideLayout496.xml"/><Relationship Id="rId661" Type="http://schemas.openxmlformats.org/officeDocument/2006/relationships/slideLayout" Target="../slideLayouts/slideLayout661.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521" Type="http://schemas.openxmlformats.org/officeDocument/2006/relationships/slideLayout" Target="../slideLayouts/slideLayout521.xml"/><Relationship Id="rId563" Type="http://schemas.openxmlformats.org/officeDocument/2006/relationships/slideLayout" Target="../slideLayouts/slideLayout563.xml"/><Relationship Id="rId619" Type="http://schemas.openxmlformats.org/officeDocument/2006/relationships/slideLayout" Target="../slideLayouts/slideLayout619.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630" Type="http://schemas.openxmlformats.org/officeDocument/2006/relationships/slideLayout" Target="../slideLayouts/slideLayout630.xml"/><Relationship Id="rId672" Type="http://schemas.openxmlformats.org/officeDocument/2006/relationships/slideLayout" Target="../slideLayouts/slideLayout672.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532" Type="http://schemas.openxmlformats.org/officeDocument/2006/relationships/slideLayout" Target="../slideLayouts/slideLayout532.xml"/><Relationship Id="rId574" Type="http://schemas.openxmlformats.org/officeDocument/2006/relationships/slideLayout" Target="../slideLayouts/slideLayout574.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476" Type="http://schemas.openxmlformats.org/officeDocument/2006/relationships/slideLayout" Target="../slideLayouts/slideLayout476.xml"/><Relationship Id="rId641" Type="http://schemas.openxmlformats.org/officeDocument/2006/relationships/slideLayout" Target="../slideLayouts/slideLayout641.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501" Type="http://schemas.openxmlformats.org/officeDocument/2006/relationships/slideLayout" Target="../slideLayouts/slideLayout501.xml"/><Relationship Id="rId543" Type="http://schemas.openxmlformats.org/officeDocument/2006/relationships/slideLayout" Target="../slideLayouts/slideLayout543.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585" Type="http://schemas.openxmlformats.org/officeDocument/2006/relationships/slideLayout" Target="../slideLayouts/slideLayout585.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487" Type="http://schemas.openxmlformats.org/officeDocument/2006/relationships/slideLayout" Target="../slideLayouts/slideLayout487.xml"/><Relationship Id="rId610" Type="http://schemas.openxmlformats.org/officeDocument/2006/relationships/slideLayout" Target="../slideLayouts/slideLayout610.xml"/><Relationship Id="rId652" Type="http://schemas.openxmlformats.org/officeDocument/2006/relationships/slideLayout" Target="../slideLayouts/slideLayout652.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512" Type="http://schemas.openxmlformats.org/officeDocument/2006/relationships/slideLayout" Target="../slideLayouts/slideLayout512.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554" Type="http://schemas.openxmlformats.org/officeDocument/2006/relationships/slideLayout" Target="../slideLayouts/slideLayout554.xml"/><Relationship Id="rId596" Type="http://schemas.openxmlformats.org/officeDocument/2006/relationships/slideLayout" Target="../slideLayouts/slideLayout596.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498" Type="http://schemas.openxmlformats.org/officeDocument/2006/relationships/slideLayout" Target="../slideLayouts/slideLayout498.xml"/><Relationship Id="rId621" Type="http://schemas.openxmlformats.org/officeDocument/2006/relationships/slideLayout" Target="../slideLayouts/slideLayout621.xml"/><Relationship Id="rId663" Type="http://schemas.openxmlformats.org/officeDocument/2006/relationships/slideLayout" Target="../slideLayouts/slideLayout663.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23" Type="http://schemas.openxmlformats.org/officeDocument/2006/relationships/slideLayout" Target="../slideLayouts/slideLayout523.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565" Type="http://schemas.openxmlformats.org/officeDocument/2006/relationships/slideLayout" Target="../slideLayouts/slideLayout565.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632" Type="http://schemas.openxmlformats.org/officeDocument/2006/relationships/slideLayout" Target="../slideLayouts/slideLayout632.xml"/><Relationship Id="rId271" Type="http://schemas.openxmlformats.org/officeDocument/2006/relationships/slideLayout" Target="../slideLayouts/slideLayout271.xml"/><Relationship Id="rId674" Type="http://schemas.openxmlformats.org/officeDocument/2006/relationships/slideLayout" Target="../slideLayouts/slideLayout674.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534" Type="http://schemas.openxmlformats.org/officeDocument/2006/relationships/slideLayout" Target="../slideLayouts/slideLayout534.xml"/><Relationship Id="rId576" Type="http://schemas.openxmlformats.org/officeDocument/2006/relationships/slideLayout" Target="../slideLayouts/slideLayout576.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601" Type="http://schemas.openxmlformats.org/officeDocument/2006/relationships/slideLayout" Target="../slideLayouts/slideLayout601.xml"/><Relationship Id="rId643" Type="http://schemas.openxmlformats.org/officeDocument/2006/relationships/slideLayout" Target="../slideLayouts/slideLayout643.xml"/><Relationship Id="rId240" Type="http://schemas.openxmlformats.org/officeDocument/2006/relationships/slideLayout" Target="../slideLayouts/slideLayout240.xml"/><Relationship Id="rId478" Type="http://schemas.openxmlformats.org/officeDocument/2006/relationships/slideLayout" Target="../slideLayouts/slideLayout478.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503" Type="http://schemas.openxmlformats.org/officeDocument/2006/relationships/slideLayout" Target="../slideLayouts/slideLayout503.xml"/><Relationship Id="rId545" Type="http://schemas.openxmlformats.org/officeDocument/2006/relationships/slideLayout" Target="../slideLayouts/slideLayout545.xml"/><Relationship Id="rId587" Type="http://schemas.openxmlformats.org/officeDocument/2006/relationships/slideLayout" Target="../slideLayouts/slideLayout587.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612" Type="http://schemas.openxmlformats.org/officeDocument/2006/relationships/slideLayout" Target="../slideLayouts/slideLayout612.xml"/><Relationship Id="rId251" Type="http://schemas.openxmlformats.org/officeDocument/2006/relationships/slideLayout" Target="../slideLayouts/slideLayout251.xml"/><Relationship Id="rId489" Type="http://schemas.openxmlformats.org/officeDocument/2006/relationships/slideLayout" Target="../slideLayouts/slideLayout489.xml"/><Relationship Id="rId654" Type="http://schemas.openxmlformats.org/officeDocument/2006/relationships/slideLayout" Target="../slideLayouts/slideLayout654.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514" Type="http://schemas.openxmlformats.org/officeDocument/2006/relationships/slideLayout" Target="../slideLayouts/slideLayout514.xml"/><Relationship Id="rId556" Type="http://schemas.openxmlformats.org/officeDocument/2006/relationships/slideLayout" Target="../slideLayouts/slideLayout556.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598" Type="http://schemas.openxmlformats.org/officeDocument/2006/relationships/slideLayout" Target="../slideLayouts/slideLayout598.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623" Type="http://schemas.openxmlformats.org/officeDocument/2006/relationships/slideLayout" Target="../slideLayouts/slideLayout623.xml"/><Relationship Id="rId665" Type="http://schemas.openxmlformats.org/officeDocument/2006/relationships/slideLayout" Target="../slideLayouts/slideLayout665.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525" Type="http://schemas.openxmlformats.org/officeDocument/2006/relationships/slideLayout" Target="../slideLayouts/slideLayout525.xml"/><Relationship Id="rId567" Type="http://schemas.openxmlformats.org/officeDocument/2006/relationships/slideLayout" Target="../slideLayouts/slideLayout567.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634" Type="http://schemas.openxmlformats.org/officeDocument/2006/relationships/slideLayout" Target="../slideLayouts/slideLayout634.xml"/><Relationship Id="rId676" Type="http://schemas.openxmlformats.org/officeDocument/2006/relationships/slideLayout" Target="../slideLayouts/slideLayout676.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480" Type="http://schemas.openxmlformats.org/officeDocument/2006/relationships/slideLayout" Target="../slideLayouts/slideLayout480.xml"/><Relationship Id="rId536" Type="http://schemas.openxmlformats.org/officeDocument/2006/relationships/slideLayout" Target="../slideLayouts/slideLayout536.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578" Type="http://schemas.openxmlformats.org/officeDocument/2006/relationships/slideLayout" Target="../slideLayouts/slideLayout578.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603" Type="http://schemas.openxmlformats.org/officeDocument/2006/relationships/slideLayout" Target="../slideLayouts/slideLayout603.xml"/><Relationship Id="rId645" Type="http://schemas.openxmlformats.org/officeDocument/2006/relationships/slideLayout" Target="../slideLayouts/slideLayout645.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491" Type="http://schemas.openxmlformats.org/officeDocument/2006/relationships/slideLayout" Target="../slideLayouts/slideLayout491.xml"/><Relationship Id="rId505" Type="http://schemas.openxmlformats.org/officeDocument/2006/relationships/slideLayout" Target="../slideLayouts/slideLayout505.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547" Type="http://schemas.openxmlformats.org/officeDocument/2006/relationships/slideLayout" Target="../slideLayouts/slideLayout547.xml"/><Relationship Id="rId589" Type="http://schemas.openxmlformats.org/officeDocument/2006/relationships/slideLayout" Target="../slideLayouts/slideLayout589.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614" Type="http://schemas.openxmlformats.org/officeDocument/2006/relationships/slideLayout" Target="../slideLayouts/slideLayout614.xml"/><Relationship Id="rId656" Type="http://schemas.openxmlformats.org/officeDocument/2006/relationships/slideLayout" Target="../slideLayouts/slideLayout656.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516" Type="http://schemas.openxmlformats.org/officeDocument/2006/relationships/slideLayout" Target="../slideLayouts/slideLayout516.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558" Type="http://schemas.openxmlformats.org/officeDocument/2006/relationships/slideLayout" Target="../slideLayouts/slideLayout558.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625" Type="http://schemas.openxmlformats.org/officeDocument/2006/relationships/slideLayout" Target="../slideLayouts/slideLayout625.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667" Type="http://schemas.openxmlformats.org/officeDocument/2006/relationships/slideLayout" Target="../slideLayouts/slideLayout667.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527" Type="http://schemas.openxmlformats.org/officeDocument/2006/relationships/slideLayout" Target="../slideLayouts/slideLayout527.xml"/><Relationship Id="rId569" Type="http://schemas.openxmlformats.org/officeDocument/2006/relationships/slideLayout" Target="../slideLayouts/slideLayout569.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580" Type="http://schemas.openxmlformats.org/officeDocument/2006/relationships/slideLayout" Target="../slideLayouts/slideLayout580.xml"/><Relationship Id="rId636" Type="http://schemas.openxmlformats.org/officeDocument/2006/relationships/slideLayout" Target="../slideLayouts/slideLayout636.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678" Type="http://schemas.openxmlformats.org/officeDocument/2006/relationships/slideLayout" Target="../slideLayouts/slideLayout678.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482" Type="http://schemas.openxmlformats.org/officeDocument/2006/relationships/slideLayout" Target="../slideLayouts/slideLayout482.xml"/><Relationship Id="rId538" Type="http://schemas.openxmlformats.org/officeDocument/2006/relationships/slideLayout" Target="../slideLayouts/slideLayout538.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591" Type="http://schemas.openxmlformats.org/officeDocument/2006/relationships/slideLayout" Target="../slideLayouts/slideLayout591.xml"/><Relationship Id="rId605" Type="http://schemas.openxmlformats.org/officeDocument/2006/relationships/slideLayout" Target="../slideLayouts/slideLayout605.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647" Type="http://schemas.openxmlformats.org/officeDocument/2006/relationships/slideLayout" Target="../slideLayouts/slideLayout647.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493" Type="http://schemas.openxmlformats.org/officeDocument/2006/relationships/slideLayout" Target="../slideLayouts/slideLayout493.xml"/><Relationship Id="rId507" Type="http://schemas.openxmlformats.org/officeDocument/2006/relationships/slideLayout" Target="../slideLayouts/slideLayout507.xml"/><Relationship Id="rId549" Type="http://schemas.openxmlformats.org/officeDocument/2006/relationships/slideLayout" Target="../slideLayouts/slideLayout54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560" Type="http://schemas.openxmlformats.org/officeDocument/2006/relationships/slideLayout" Target="../slideLayouts/slideLayout560.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616" Type="http://schemas.openxmlformats.org/officeDocument/2006/relationships/slideLayout" Target="../slideLayouts/slideLayout616.xml"/><Relationship Id="rId658" Type="http://schemas.openxmlformats.org/officeDocument/2006/relationships/slideLayout" Target="../slideLayouts/slideLayout658.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518" Type="http://schemas.openxmlformats.org/officeDocument/2006/relationships/slideLayout" Target="../slideLayouts/slideLayout518.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 Id="rId571" Type="http://schemas.openxmlformats.org/officeDocument/2006/relationships/slideLayout" Target="../slideLayouts/slideLayout571.xml"/><Relationship Id="rId627" Type="http://schemas.openxmlformats.org/officeDocument/2006/relationships/slideLayout" Target="../slideLayouts/slideLayout627.xml"/><Relationship Id="rId669" Type="http://schemas.openxmlformats.org/officeDocument/2006/relationships/slideLayout" Target="../slideLayouts/slideLayout669.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66" Type="http://schemas.openxmlformats.org/officeDocument/2006/relationships/slideLayout" Target="../slideLayouts/slideLayout266.xml"/><Relationship Id="rId431" Type="http://schemas.openxmlformats.org/officeDocument/2006/relationships/slideLayout" Target="../slideLayouts/slideLayout431.xml"/><Relationship Id="rId473" Type="http://schemas.openxmlformats.org/officeDocument/2006/relationships/slideLayout" Target="../slideLayouts/slideLayout473.xml"/><Relationship Id="rId529" Type="http://schemas.openxmlformats.org/officeDocument/2006/relationships/slideLayout" Target="../slideLayouts/slideLayout529.xml"/><Relationship Id="rId680" Type="http://schemas.openxmlformats.org/officeDocument/2006/relationships/slideLayout" Target="../slideLayouts/slideLayout680.xml"/><Relationship Id="rId30" Type="http://schemas.openxmlformats.org/officeDocument/2006/relationships/slideLayout" Target="../slideLayouts/slideLayout30.xml"/><Relationship Id="rId126" Type="http://schemas.openxmlformats.org/officeDocument/2006/relationships/slideLayout" Target="../slideLayouts/slideLayout126.xml"/><Relationship Id="rId168" Type="http://schemas.openxmlformats.org/officeDocument/2006/relationships/slideLayout" Target="../slideLayouts/slideLayout168.xml"/><Relationship Id="rId333" Type="http://schemas.openxmlformats.org/officeDocument/2006/relationships/slideLayout" Target="../slideLayouts/slideLayout333.xml"/><Relationship Id="rId540" Type="http://schemas.openxmlformats.org/officeDocument/2006/relationships/slideLayout" Target="../slideLayouts/slideLayout540.xml"/><Relationship Id="rId72" Type="http://schemas.openxmlformats.org/officeDocument/2006/relationships/slideLayout" Target="../slideLayouts/slideLayout72.xml"/><Relationship Id="rId375" Type="http://schemas.openxmlformats.org/officeDocument/2006/relationships/slideLayout" Target="../slideLayouts/slideLayout375.xml"/><Relationship Id="rId582" Type="http://schemas.openxmlformats.org/officeDocument/2006/relationships/slideLayout" Target="../slideLayouts/slideLayout582.xml"/><Relationship Id="rId638" Type="http://schemas.openxmlformats.org/officeDocument/2006/relationships/slideLayout" Target="../slideLayouts/slideLayout638.xml"/><Relationship Id="rId3" Type="http://schemas.openxmlformats.org/officeDocument/2006/relationships/slideLayout" Target="../slideLayouts/slideLayout3.xml"/><Relationship Id="rId235" Type="http://schemas.openxmlformats.org/officeDocument/2006/relationships/slideLayout" Target="../slideLayouts/slideLayout235.xml"/><Relationship Id="rId277" Type="http://schemas.openxmlformats.org/officeDocument/2006/relationships/slideLayout" Target="../slideLayouts/slideLayout277.xml"/><Relationship Id="rId400" Type="http://schemas.openxmlformats.org/officeDocument/2006/relationships/slideLayout" Target="../slideLayouts/slideLayout400.xml"/><Relationship Id="rId442" Type="http://schemas.openxmlformats.org/officeDocument/2006/relationships/slideLayout" Target="../slideLayouts/slideLayout442.xml"/><Relationship Id="rId484" Type="http://schemas.openxmlformats.org/officeDocument/2006/relationships/slideLayout" Target="../slideLayouts/slideLayout484.xml"/><Relationship Id="rId137" Type="http://schemas.openxmlformats.org/officeDocument/2006/relationships/slideLayout" Target="../slideLayouts/slideLayout137.xml"/><Relationship Id="rId302" Type="http://schemas.openxmlformats.org/officeDocument/2006/relationships/slideLayout" Target="../slideLayouts/slideLayout302.xml"/><Relationship Id="rId344" Type="http://schemas.openxmlformats.org/officeDocument/2006/relationships/slideLayout" Target="../slideLayouts/slideLayout344.xml"/><Relationship Id="rId41" Type="http://schemas.openxmlformats.org/officeDocument/2006/relationships/slideLayout" Target="../slideLayouts/slideLayout41.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86" Type="http://schemas.openxmlformats.org/officeDocument/2006/relationships/slideLayout" Target="../slideLayouts/slideLayout386.xml"/><Relationship Id="rId551" Type="http://schemas.openxmlformats.org/officeDocument/2006/relationships/slideLayout" Target="../slideLayouts/slideLayout551.xml"/><Relationship Id="rId593" Type="http://schemas.openxmlformats.org/officeDocument/2006/relationships/slideLayout" Target="../slideLayouts/slideLayout593.xml"/><Relationship Id="rId607" Type="http://schemas.openxmlformats.org/officeDocument/2006/relationships/slideLayout" Target="../slideLayouts/slideLayout607.xml"/><Relationship Id="rId649" Type="http://schemas.openxmlformats.org/officeDocument/2006/relationships/slideLayout" Target="../slideLayouts/slideLayout64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46" Type="http://schemas.openxmlformats.org/officeDocument/2006/relationships/slideLayout" Target="../slideLayouts/slideLayout246.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53" Type="http://schemas.openxmlformats.org/officeDocument/2006/relationships/slideLayout" Target="../slideLayouts/slideLayout453.xml"/><Relationship Id="rId509" Type="http://schemas.openxmlformats.org/officeDocument/2006/relationships/slideLayout" Target="../slideLayouts/slideLayout509.xml"/><Relationship Id="rId660" Type="http://schemas.openxmlformats.org/officeDocument/2006/relationships/slideLayout" Target="../slideLayouts/slideLayout660.xml"/><Relationship Id="rId106" Type="http://schemas.openxmlformats.org/officeDocument/2006/relationships/slideLayout" Target="../slideLayouts/slideLayout106.xml"/><Relationship Id="rId313" Type="http://schemas.openxmlformats.org/officeDocument/2006/relationships/slideLayout" Target="../slideLayouts/slideLayout313.xml"/><Relationship Id="rId495" Type="http://schemas.openxmlformats.org/officeDocument/2006/relationships/slideLayout" Target="../slideLayouts/slideLayout495.xml"/><Relationship Id="rId10" Type="http://schemas.openxmlformats.org/officeDocument/2006/relationships/slideLayout" Target="../slideLayouts/slideLayout10.xml"/><Relationship Id="rId52" Type="http://schemas.openxmlformats.org/officeDocument/2006/relationships/slideLayout" Target="../slideLayouts/slideLayout52.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355" Type="http://schemas.openxmlformats.org/officeDocument/2006/relationships/slideLayout" Target="../slideLayouts/slideLayout355.xml"/><Relationship Id="rId397" Type="http://schemas.openxmlformats.org/officeDocument/2006/relationships/slideLayout" Target="../slideLayouts/slideLayout397.xml"/><Relationship Id="rId520" Type="http://schemas.openxmlformats.org/officeDocument/2006/relationships/slideLayout" Target="../slideLayouts/slideLayout520.xml"/><Relationship Id="rId562" Type="http://schemas.openxmlformats.org/officeDocument/2006/relationships/slideLayout" Target="../slideLayouts/slideLayout562.xml"/><Relationship Id="rId618" Type="http://schemas.openxmlformats.org/officeDocument/2006/relationships/slideLayout" Target="../slideLayouts/slideLayout618.xml"/><Relationship Id="rId215" Type="http://schemas.openxmlformats.org/officeDocument/2006/relationships/slideLayout" Target="../slideLayouts/slideLayout215.xml"/><Relationship Id="rId257" Type="http://schemas.openxmlformats.org/officeDocument/2006/relationships/slideLayout" Target="../slideLayouts/slideLayout257.xml"/><Relationship Id="rId422" Type="http://schemas.openxmlformats.org/officeDocument/2006/relationships/slideLayout" Target="../slideLayouts/slideLayout422.xml"/><Relationship Id="rId464" Type="http://schemas.openxmlformats.org/officeDocument/2006/relationships/slideLayout" Target="../slideLayouts/slideLayout464.xml"/><Relationship Id="rId299" Type="http://schemas.openxmlformats.org/officeDocument/2006/relationships/slideLayout" Target="../slideLayouts/slideLayout299.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66" Type="http://schemas.openxmlformats.org/officeDocument/2006/relationships/slideLayout" Target="../slideLayouts/slideLayout366.xml"/><Relationship Id="rId573" Type="http://schemas.openxmlformats.org/officeDocument/2006/relationships/slideLayout" Target="../slideLayouts/slideLayout573.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640" Type="http://schemas.openxmlformats.org/officeDocument/2006/relationships/slideLayout" Target="../slideLayouts/slideLayout640.xml"/><Relationship Id="rId74" Type="http://schemas.openxmlformats.org/officeDocument/2006/relationships/slideLayout" Target="../slideLayouts/slideLayout74.xml"/><Relationship Id="rId377" Type="http://schemas.openxmlformats.org/officeDocument/2006/relationships/slideLayout" Target="../slideLayouts/slideLayout377.xml"/><Relationship Id="rId500" Type="http://schemas.openxmlformats.org/officeDocument/2006/relationships/slideLayout" Target="../slideLayouts/slideLayout500.xml"/><Relationship Id="rId584" Type="http://schemas.openxmlformats.org/officeDocument/2006/relationships/slideLayout" Target="../slideLayouts/slideLayout584.xml"/><Relationship Id="rId5" Type="http://schemas.openxmlformats.org/officeDocument/2006/relationships/slideLayout" Target="../slideLayouts/slideLayout5.xml"/><Relationship Id="rId237" Type="http://schemas.openxmlformats.org/officeDocument/2006/relationships/slideLayout" Target="../slideLayouts/slideLayout237.xml"/><Relationship Id="rId444" Type="http://schemas.openxmlformats.org/officeDocument/2006/relationships/slideLayout" Target="../slideLayouts/slideLayout444.xml"/><Relationship Id="rId651" Type="http://schemas.openxmlformats.org/officeDocument/2006/relationships/slideLayout" Target="../slideLayouts/slideLayout651.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88" Type="http://schemas.openxmlformats.org/officeDocument/2006/relationships/slideLayout" Target="../slideLayouts/slideLayout388.xml"/><Relationship Id="rId511" Type="http://schemas.openxmlformats.org/officeDocument/2006/relationships/slideLayout" Target="../slideLayouts/slideLayout511.xml"/><Relationship Id="rId609" Type="http://schemas.openxmlformats.org/officeDocument/2006/relationships/slideLayout" Target="../slideLayouts/slideLayout60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595" Type="http://schemas.openxmlformats.org/officeDocument/2006/relationships/slideLayout" Target="../slideLayouts/slideLayout595.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662" Type="http://schemas.openxmlformats.org/officeDocument/2006/relationships/slideLayout" Target="../slideLayouts/slideLayout662.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522" Type="http://schemas.openxmlformats.org/officeDocument/2006/relationships/slideLayout" Target="../slideLayouts/slideLayout522.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66" Type="http://schemas.openxmlformats.org/officeDocument/2006/relationships/slideLayout" Target="../slideLayouts/slideLayout466.xml"/><Relationship Id="rId673" Type="http://schemas.openxmlformats.org/officeDocument/2006/relationships/slideLayout" Target="../slideLayouts/slideLayout673.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326" Type="http://schemas.openxmlformats.org/officeDocument/2006/relationships/slideLayout" Target="../slideLayouts/slideLayout326.xml"/><Relationship Id="rId533" Type="http://schemas.openxmlformats.org/officeDocument/2006/relationships/slideLayout" Target="../slideLayouts/slideLayout533.xml"/><Relationship Id="rId172" Type="http://schemas.openxmlformats.org/officeDocument/2006/relationships/slideLayout" Target="../slideLayouts/slideLayout172.xml"/><Relationship Id="rId477" Type="http://schemas.openxmlformats.org/officeDocument/2006/relationships/slideLayout" Target="../slideLayouts/slideLayout477.xml"/><Relationship Id="rId600" Type="http://schemas.openxmlformats.org/officeDocument/2006/relationships/slideLayout" Target="../slideLayouts/slideLayout600.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44" Type="http://schemas.openxmlformats.org/officeDocument/2006/relationships/slideLayout" Target="../slideLayouts/slideLayout544.xml"/><Relationship Id="rId183" Type="http://schemas.openxmlformats.org/officeDocument/2006/relationships/slideLayout" Target="../slideLayouts/slideLayout183.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611" Type="http://schemas.openxmlformats.org/officeDocument/2006/relationships/slideLayout" Target="../slideLayouts/slideLayout611.xml"/><Relationship Id="rId250" Type="http://schemas.openxmlformats.org/officeDocument/2006/relationships/slideLayout" Target="../slideLayouts/slideLayout250.xml"/><Relationship Id="rId488" Type="http://schemas.openxmlformats.org/officeDocument/2006/relationships/slideLayout" Target="../slideLayouts/slideLayout488.xml"/><Relationship Id="rId45" Type="http://schemas.openxmlformats.org/officeDocument/2006/relationships/slideLayout" Target="../slideLayouts/slideLayout45.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555" Type="http://schemas.openxmlformats.org/officeDocument/2006/relationships/slideLayout" Target="../slideLayouts/slideLayout555.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622" Type="http://schemas.openxmlformats.org/officeDocument/2006/relationships/slideLayout" Target="../slideLayouts/slideLayout622.xml"/><Relationship Id="rId261" Type="http://schemas.openxmlformats.org/officeDocument/2006/relationships/slideLayout" Target="../slideLayouts/slideLayout261.xml"/><Relationship Id="rId499" Type="http://schemas.openxmlformats.org/officeDocument/2006/relationships/slideLayout" Target="../slideLayouts/slideLayout499.xml"/><Relationship Id="rId56" Type="http://schemas.openxmlformats.org/officeDocument/2006/relationships/slideLayout" Target="../slideLayouts/slideLayout56.xml"/><Relationship Id="rId359" Type="http://schemas.openxmlformats.org/officeDocument/2006/relationships/slideLayout" Target="../slideLayouts/slideLayout359.xml"/><Relationship Id="rId566" Type="http://schemas.openxmlformats.org/officeDocument/2006/relationships/slideLayout" Target="../slideLayouts/slideLayout566.xml"/><Relationship Id="rId121" Type="http://schemas.openxmlformats.org/officeDocument/2006/relationships/slideLayout" Target="../slideLayouts/slideLayout121.xml"/><Relationship Id="rId219" Type="http://schemas.openxmlformats.org/officeDocument/2006/relationships/slideLayout" Target="../slideLayouts/slideLayout219.xml"/><Relationship Id="rId426" Type="http://schemas.openxmlformats.org/officeDocument/2006/relationships/slideLayout" Target="../slideLayouts/slideLayout426.xml"/><Relationship Id="rId633" Type="http://schemas.openxmlformats.org/officeDocument/2006/relationships/slideLayout" Target="../slideLayouts/slideLayout633.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577" Type="http://schemas.openxmlformats.org/officeDocument/2006/relationships/slideLayout" Target="../slideLayouts/slideLayout577.xml"/><Relationship Id="rId132" Type="http://schemas.openxmlformats.org/officeDocument/2006/relationships/slideLayout" Target="../slideLayouts/slideLayout132.xml"/><Relationship Id="rId437" Type="http://schemas.openxmlformats.org/officeDocument/2006/relationships/slideLayout" Target="../slideLayouts/slideLayout437.xml"/><Relationship Id="rId644" Type="http://schemas.openxmlformats.org/officeDocument/2006/relationships/slideLayout" Target="../slideLayouts/slideLayout644.xml"/><Relationship Id="rId283" Type="http://schemas.openxmlformats.org/officeDocument/2006/relationships/slideLayout" Target="../slideLayouts/slideLayout283.xml"/><Relationship Id="rId490" Type="http://schemas.openxmlformats.org/officeDocument/2006/relationships/slideLayout" Target="../slideLayouts/slideLayout490.xml"/><Relationship Id="rId504" Type="http://schemas.openxmlformats.org/officeDocument/2006/relationships/slideLayout" Target="../slideLayouts/slideLayout504.xml"/><Relationship Id="rId78" Type="http://schemas.openxmlformats.org/officeDocument/2006/relationships/slideLayout" Target="../slideLayouts/slideLayout78.xml"/><Relationship Id="rId143" Type="http://schemas.openxmlformats.org/officeDocument/2006/relationships/slideLayout" Target="../slideLayouts/slideLayout143.xml"/><Relationship Id="rId350" Type="http://schemas.openxmlformats.org/officeDocument/2006/relationships/slideLayout" Target="../slideLayouts/slideLayout350.xml"/><Relationship Id="rId588" Type="http://schemas.openxmlformats.org/officeDocument/2006/relationships/slideLayout" Target="../slideLayouts/slideLayout588.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448" Type="http://schemas.openxmlformats.org/officeDocument/2006/relationships/slideLayout" Target="../slideLayouts/slideLayout448.xml"/><Relationship Id="rId655" Type="http://schemas.openxmlformats.org/officeDocument/2006/relationships/slideLayout" Target="../slideLayouts/slideLayout655.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515" Type="http://schemas.openxmlformats.org/officeDocument/2006/relationships/slideLayout" Target="../slideLayouts/slideLayout515.xml"/><Relationship Id="rId89" Type="http://schemas.openxmlformats.org/officeDocument/2006/relationships/slideLayout" Target="../slideLayouts/slideLayout89.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599" Type="http://schemas.openxmlformats.org/officeDocument/2006/relationships/slideLayout" Target="../slideLayouts/slideLayout599.xml"/><Relationship Id="rId459" Type="http://schemas.openxmlformats.org/officeDocument/2006/relationships/slideLayout" Target="../slideLayouts/slideLayout459.xml"/><Relationship Id="rId666" Type="http://schemas.openxmlformats.org/officeDocument/2006/relationships/slideLayout" Target="../slideLayouts/slideLayout66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319" Type="http://schemas.openxmlformats.org/officeDocument/2006/relationships/slideLayout" Target="../slideLayouts/slideLayout319.xml"/><Relationship Id="rId526" Type="http://schemas.openxmlformats.org/officeDocument/2006/relationships/slideLayout" Target="../slideLayouts/slideLayout526.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677" Type="http://schemas.openxmlformats.org/officeDocument/2006/relationships/slideLayout" Target="../slideLayouts/slideLayout677.xml"/><Relationship Id="rId232" Type="http://schemas.openxmlformats.org/officeDocument/2006/relationships/slideLayout" Target="../slideLayouts/slideLayout232.xml"/><Relationship Id="rId27" Type="http://schemas.openxmlformats.org/officeDocument/2006/relationships/slideLayout" Target="../slideLayouts/slideLayout27.xml"/><Relationship Id="rId537" Type="http://schemas.openxmlformats.org/officeDocument/2006/relationships/slideLayout" Target="../slideLayouts/slideLayout537.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83" Type="http://schemas.openxmlformats.org/officeDocument/2006/relationships/slideLayout" Target="../slideLayouts/slideLayout383.xml"/><Relationship Id="rId590" Type="http://schemas.openxmlformats.org/officeDocument/2006/relationships/slideLayout" Target="../slideLayouts/slideLayout590.xml"/><Relationship Id="rId604" Type="http://schemas.openxmlformats.org/officeDocument/2006/relationships/slideLayout" Target="../slideLayouts/slideLayout604.xml"/><Relationship Id="rId243" Type="http://schemas.openxmlformats.org/officeDocument/2006/relationships/slideLayout" Target="../slideLayouts/slideLayout243.xml"/><Relationship Id="rId450" Type="http://schemas.openxmlformats.org/officeDocument/2006/relationships/slideLayout" Target="../slideLayouts/slideLayout450.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548" Type="http://schemas.openxmlformats.org/officeDocument/2006/relationships/slideLayout" Target="../slideLayouts/slideLayout548.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798.xml"/><Relationship Id="rId671" Type="http://schemas.openxmlformats.org/officeDocument/2006/relationships/slideLayout" Target="../slideLayouts/slideLayout1352.xml"/><Relationship Id="rId21" Type="http://schemas.openxmlformats.org/officeDocument/2006/relationships/slideLayout" Target="../slideLayouts/slideLayout702.xml"/><Relationship Id="rId324" Type="http://schemas.openxmlformats.org/officeDocument/2006/relationships/slideLayout" Target="../slideLayouts/slideLayout1005.xml"/><Relationship Id="rId531" Type="http://schemas.openxmlformats.org/officeDocument/2006/relationships/slideLayout" Target="../slideLayouts/slideLayout1212.xml"/><Relationship Id="rId629" Type="http://schemas.openxmlformats.org/officeDocument/2006/relationships/slideLayout" Target="../slideLayouts/slideLayout1310.xml"/><Relationship Id="rId170" Type="http://schemas.openxmlformats.org/officeDocument/2006/relationships/slideLayout" Target="../slideLayouts/slideLayout851.xml"/><Relationship Id="rId268" Type="http://schemas.openxmlformats.org/officeDocument/2006/relationships/slideLayout" Target="../slideLayouts/slideLayout949.xml"/><Relationship Id="rId475" Type="http://schemas.openxmlformats.org/officeDocument/2006/relationships/slideLayout" Target="../slideLayouts/slideLayout1156.xml"/><Relationship Id="rId682" Type="http://schemas.openxmlformats.org/officeDocument/2006/relationships/slideLayout" Target="../slideLayouts/slideLayout1363.xml"/><Relationship Id="rId32" Type="http://schemas.openxmlformats.org/officeDocument/2006/relationships/slideLayout" Target="../slideLayouts/slideLayout713.xml"/><Relationship Id="rId128" Type="http://schemas.openxmlformats.org/officeDocument/2006/relationships/slideLayout" Target="../slideLayouts/slideLayout809.xml"/><Relationship Id="rId335" Type="http://schemas.openxmlformats.org/officeDocument/2006/relationships/slideLayout" Target="../slideLayouts/slideLayout1016.xml"/><Relationship Id="rId542" Type="http://schemas.openxmlformats.org/officeDocument/2006/relationships/slideLayout" Target="../slideLayouts/slideLayout1223.xml"/><Relationship Id="rId181" Type="http://schemas.openxmlformats.org/officeDocument/2006/relationships/slideLayout" Target="../slideLayouts/slideLayout862.xml"/><Relationship Id="rId402" Type="http://schemas.openxmlformats.org/officeDocument/2006/relationships/slideLayout" Target="../slideLayouts/slideLayout1083.xml"/><Relationship Id="rId279" Type="http://schemas.openxmlformats.org/officeDocument/2006/relationships/slideLayout" Target="../slideLayouts/slideLayout960.xml"/><Relationship Id="rId486" Type="http://schemas.openxmlformats.org/officeDocument/2006/relationships/slideLayout" Target="../slideLayouts/slideLayout1167.xml"/><Relationship Id="rId43" Type="http://schemas.openxmlformats.org/officeDocument/2006/relationships/slideLayout" Target="../slideLayouts/slideLayout724.xml"/><Relationship Id="rId139" Type="http://schemas.openxmlformats.org/officeDocument/2006/relationships/slideLayout" Target="../slideLayouts/slideLayout820.xml"/><Relationship Id="rId346" Type="http://schemas.openxmlformats.org/officeDocument/2006/relationships/slideLayout" Target="../slideLayouts/slideLayout1027.xml"/><Relationship Id="rId553" Type="http://schemas.openxmlformats.org/officeDocument/2006/relationships/slideLayout" Target="../slideLayouts/slideLayout1234.xml"/><Relationship Id="rId192" Type="http://schemas.openxmlformats.org/officeDocument/2006/relationships/slideLayout" Target="../slideLayouts/slideLayout873.xml"/><Relationship Id="rId206" Type="http://schemas.openxmlformats.org/officeDocument/2006/relationships/slideLayout" Target="../slideLayouts/slideLayout887.xml"/><Relationship Id="rId413" Type="http://schemas.openxmlformats.org/officeDocument/2006/relationships/slideLayout" Target="../slideLayouts/slideLayout1094.xml"/><Relationship Id="rId497" Type="http://schemas.openxmlformats.org/officeDocument/2006/relationships/slideLayout" Target="../slideLayouts/slideLayout1178.xml"/><Relationship Id="rId620" Type="http://schemas.openxmlformats.org/officeDocument/2006/relationships/slideLayout" Target="../slideLayouts/slideLayout1301.xml"/><Relationship Id="rId357" Type="http://schemas.openxmlformats.org/officeDocument/2006/relationships/slideLayout" Target="../slideLayouts/slideLayout1038.xml"/><Relationship Id="rId54" Type="http://schemas.openxmlformats.org/officeDocument/2006/relationships/slideLayout" Target="../slideLayouts/slideLayout735.xml"/><Relationship Id="rId217" Type="http://schemas.openxmlformats.org/officeDocument/2006/relationships/slideLayout" Target="../slideLayouts/slideLayout898.xml"/><Relationship Id="rId564" Type="http://schemas.openxmlformats.org/officeDocument/2006/relationships/slideLayout" Target="../slideLayouts/slideLayout1245.xml"/><Relationship Id="rId424" Type="http://schemas.openxmlformats.org/officeDocument/2006/relationships/slideLayout" Target="../slideLayouts/slideLayout1105.xml"/><Relationship Id="rId631" Type="http://schemas.openxmlformats.org/officeDocument/2006/relationships/slideLayout" Target="../slideLayouts/slideLayout1312.xml"/><Relationship Id="rId270" Type="http://schemas.openxmlformats.org/officeDocument/2006/relationships/slideLayout" Target="../slideLayouts/slideLayout951.xml"/><Relationship Id="rId65" Type="http://schemas.openxmlformats.org/officeDocument/2006/relationships/slideLayout" Target="../slideLayouts/slideLayout746.xml"/><Relationship Id="rId130" Type="http://schemas.openxmlformats.org/officeDocument/2006/relationships/slideLayout" Target="../slideLayouts/slideLayout811.xml"/><Relationship Id="rId368" Type="http://schemas.openxmlformats.org/officeDocument/2006/relationships/slideLayout" Target="../slideLayouts/slideLayout1049.xml"/><Relationship Id="rId575" Type="http://schemas.openxmlformats.org/officeDocument/2006/relationships/slideLayout" Target="../slideLayouts/slideLayout1256.xml"/><Relationship Id="rId228" Type="http://schemas.openxmlformats.org/officeDocument/2006/relationships/slideLayout" Target="../slideLayouts/slideLayout909.xml"/><Relationship Id="rId435" Type="http://schemas.openxmlformats.org/officeDocument/2006/relationships/slideLayout" Target="../slideLayouts/slideLayout1116.xml"/><Relationship Id="rId642" Type="http://schemas.openxmlformats.org/officeDocument/2006/relationships/slideLayout" Target="../slideLayouts/slideLayout1323.xml"/><Relationship Id="rId281" Type="http://schemas.openxmlformats.org/officeDocument/2006/relationships/slideLayout" Target="../slideLayouts/slideLayout962.xml"/><Relationship Id="rId502" Type="http://schemas.openxmlformats.org/officeDocument/2006/relationships/slideLayout" Target="../slideLayouts/slideLayout1183.xml"/><Relationship Id="rId76" Type="http://schemas.openxmlformats.org/officeDocument/2006/relationships/slideLayout" Target="../slideLayouts/slideLayout757.xml"/><Relationship Id="rId141" Type="http://schemas.openxmlformats.org/officeDocument/2006/relationships/slideLayout" Target="../slideLayouts/slideLayout822.xml"/><Relationship Id="rId379" Type="http://schemas.openxmlformats.org/officeDocument/2006/relationships/slideLayout" Target="../slideLayouts/slideLayout1060.xml"/><Relationship Id="rId586" Type="http://schemas.openxmlformats.org/officeDocument/2006/relationships/slideLayout" Target="../slideLayouts/slideLayout1267.xml"/><Relationship Id="rId7" Type="http://schemas.openxmlformats.org/officeDocument/2006/relationships/slideLayout" Target="../slideLayouts/slideLayout688.xml"/><Relationship Id="rId239" Type="http://schemas.openxmlformats.org/officeDocument/2006/relationships/slideLayout" Target="../slideLayouts/slideLayout920.xml"/><Relationship Id="rId446" Type="http://schemas.openxmlformats.org/officeDocument/2006/relationships/slideLayout" Target="../slideLayouts/slideLayout1127.xml"/><Relationship Id="rId653" Type="http://schemas.openxmlformats.org/officeDocument/2006/relationships/slideLayout" Target="../slideLayouts/slideLayout1334.xml"/><Relationship Id="rId292" Type="http://schemas.openxmlformats.org/officeDocument/2006/relationships/slideLayout" Target="../slideLayouts/slideLayout973.xml"/><Relationship Id="rId306" Type="http://schemas.openxmlformats.org/officeDocument/2006/relationships/slideLayout" Target="../slideLayouts/slideLayout987.xml"/><Relationship Id="rId87" Type="http://schemas.openxmlformats.org/officeDocument/2006/relationships/slideLayout" Target="../slideLayouts/slideLayout768.xml"/><Relationship Id="rId513" Type="http://schemas.openxmlformats.org/officeDocument/2006/relationships/slideLayout" Target="../slideLayouts/slideLayout1194.xml"/><Relationship Id="rId597" Type="http://schemas.openxmlformats.org/officeDocument/2006/relationships/slideLayout" Target="../slideLayouts/slideLayout1278.xml"/><Relationship Id="rId152" Type="http://schemas.openxmlformats.org/officeDocument/2006/relationships/slideLayout" Target="../slideLayouts/slideLayout833.xml"/><Relationship Id="rId457" Type="http://schemas.openxmlformats.org/officeDocument/2006/relationships/slideLayout" Target="../slideLayouts/slideLayout1138.xml"/><Relationship Id="rId664" Type="http://schemas.openxmlformats.org/officeDocument/2006/relationships/slideLayout" Target="../slideLayouts/slideLayout1345.xml"/><Relationship Id="rId14" Type="http://schemas.openxmlformats.org/officeDocument/2006/relationships/slideLayout" Target="../slideLayouts/slideLayout695.xml"/><Relationship Id="rId317" Type="http://schemas.openxmlformats.org/officeDocument/2006/relationships/slideLayout" Target="../slideLayouts/slideLayout998.xml"/><Relationship Id="rId524" Type="http://schemas.openxmlformats.org/officeDocument/2006/relationships/slideLayout" Target="../slideLayouts/slideLayout1205.xml"/><Relationship Id="rId98" Type="http://schemas.openxmlformats.org/officeDocument/2006/relationships/slideLayout" Target="../slideLayouts/slideLayout779.xml"/><Relationship Id="rId163" Type="http://schemas.openxmlformats.org/officeDocument/2006/relationships/slideLayout" Target="../slideLayouts/slideLayout844.xml"/><Relationship Id="rId370" Type="http://schemas.openxmlformats.org/officeDocument/2006/relationships/slideLayout" Target="../slideLayouts/slideLayout1051.xml"/><Relationship Id="rId230" Type="http://schemas.openxmlformats.org/officeDocument/2006/relationships/slideLayout" Target="../slideLayouts/slideLayout911.xml"/><Relationship Id="rId468" Type="http://schemas.openxmlformats.org/officeDocument/2006/relationships/slideLayout" Target="../slideLayouts/slideLayout1149.xml"/><Relationship Id="rId675" Type="http://schemas.openxmlformats.org/officeDocument/2006/relationships/slideLayout" Target="../slideLayouts/slideLayout1356.xml"/><Relationship Id="rId25" Type="http://schemas.openxmlformats.org/officeDocument/2006/relationships/slideLayout" Target="../slideLayouts/slideLayout706.xml"/><Relationship Id="rId328" Type="http://schemas.openxmlformats.org/officeDocument/2006/relationships/slideLayout" Target="../slideLayouts/slideLayout1009.xml"/><Relationship Id="rId535" Type="http://schemas.openxmlformats.org/officeDocument/2006/relationships/slideLayout" Target="../slideLayouts/slideLayout1216.xml"/><Relationship Id="rId174" Type="http://schemas.openxmlformats.org/officeDocument/2006/relationships/slideLayout" Target="../slideLayouts/slideLayout855.xml"/><Relationship Id="rId381" Type="http://schemas.openxmlformats.org/officeDocument/2006/relationships/slideLayout" Target="../slideLayouts/slideLayout1062.xml"/><Relationship Id="rId602" Type="http://schemas.openxmlformats.org/officeDocument/2006/relationships/slideLayout" Target="../slideLayouts/slideLayout1283.xml"/><Relationship Id="rId241" Type="http://schemas.openxmlformats.org/officeDocument/2006/relationships/slideLayout" Target="../slideLayouts/slideLayout922.xml"/><Relationship Id="rId479" Type="http://schemas.openxmlformats.org/officeDocument/2006/relationships/slideLayout" Target="../slideLayouts/slideLayout1160.xml"/><Relationship Id="rId36" Type="http://schemas.openxmlformats.org/officeDocument/2006/relationships/slideLayout" Target="../slideLayouts/slideLayout717.xml"/><Relationship Id="rId339" Type="http://schemas.openxmlformats.org/officeDocument/2006/relationships/slideLayout" Target="../slideLayouts/slideLayout1020.xml"/><Relationship Id="rId546" Type="http://schemas.openxmlformats.org/officeDocument/2006/relationships/slideLayout" Target="../slideLayouts/slideLayout1227.xml"/><Relationship Id="rId101" Type="http://schemas.openxmlformats.org/officeDocument/2006/relationships/slideLayout" Target="../slideLayouts/slideLayout782.xml"/><Relationship Id="rId185" Type="http://schemas.openxmlformats.org/officeDocument/2006/relationships/slideLayout" Target="../slideLayouts/slideLayout866.xml"/><Relationship Id="rId406" Type="http://schemas.openxmlformats.org/officeDocument/2006/relationships/slideLayout" Target="../slideLayouts/slideLayout1087.xml"/><Relationship Id="rId392" Type="http://schemas.openxmlformats.org/officeDocument/2006/relationships/slideLayout" Target="../slideLayouts/slideLayout1073.xml"/><Relationship Id="rId613" Type="http://schemas.openxmlformats.org/officeDocument/2006/relationships/slideLayout" Target="../slideLayouts/slideLayout1294.xml"/><Relationship Id="rId252" Type="http://schemas.openxmlformats.org/officeDocument/2006/relationships/slideLayout" Target="../slideLayouts/slideLayout933.xml"/><Relationship Id="rId47" Type="http://schemas.openxmlformats.org/officeDocument/2006/relationships/slideLayout" Target="../slideLayouts/slideLayout728.xml"/><Relationship Id="rId112" Type="http://schemas.openxmlformats.org/officeDocument/2006/relationships/slideLayout" Target="../slideLayouts/slideLayout793.xml"/><Relationship Id="rId557" Type="http://schemas.openxmlformats.org/officeDocument/2006/relationships/slideLayout" Target="../slideLayouts/slideLayout1238.xml"/><Relationship Id="rId196" Type="http://schemas.openxmlformats.org/officeDocument/2006/relationships/slideLayout" Target="../slideLayouts/slideLayout877.xml"/><Relationship Id="rId417" Type="http://schemas.openxmlformats.org/officeDocument/2006/relationships/slideLayout" Target="../slideLayouts/slideLayout1098.xml"/><Relationship Id="rId624" Type="http://schemas.openxmlformats.org/officeDocument/2006/relationships/slideLayout" Target="../slideLayouts/slideLayout1305.xml"/><Relationship Id="rId263" Type="http://schemas.openxmlformats.org/officeDocument/2006/relationships/slideLayout" Target="../slideLayouts/slideLayout944.xml"/><Relationship Id="rId470" Type="http://schemas.openxmlformats.org/officeDocument/2006/relationships/slideLayout" Target="../slideLayouts/slideLayout1151.xml"/><Relationship Id="rId58" Type="http://schemas.openxmlformats.org/officeDocument/2006/relationships/slideLayout" Target="../slideLayouts/slideLayout739.xml"/><Relationship Id="rId123" Type="http://schemas.openxmlformats.org/officeDocument/2006/relationships/slideLayout" Target="../slideLayouts/slideLayout804.xml"/><Relationship Id="rId330" Type="http://schemas.openxmlformats.org/officeDocument/2006/relationships/slideLayout" Target="../slideLayouts/slideLayout1011.xml"/><Relationship Id="rId568" Type="http://schemas.openxmlformats.org/officeDocument/2006/relationships/slideLayout" Target="../slideLayouts/slideLayout1249.xml"/><Relationship Id="rId428" Type="http://schemas.openxmlformats.org/officeDocument/2006/relationships/slideLayout" Target="../slideLayouts/slideLayout1109.xml"/><Relationship Id="rId635" Type="http://schemas.openxmlformats.org/officeDocument/2006/relationships/slideLayout" Target="../slideLayouts/slideLayout1316.xml"/><Relationship Id="rId274" Type="http://schemas.openxmlformats.org/officeDocument/2006/relationships/slideLayout" Target="../slideLayouts/slideLayout955.xml"/><Relationship Id="rId481" Type="http://schemas.openxmlformats.org/officeDocument/2006/relationships/slideLayout" Target="../slideLayouts/slideLayout1162.xml"/><Relationship Id="rId69" Type="http://schemas.openxmlformats.org/officeDocument/2006/relationships/slideLayout" Target="../slideLayouts/slideLayout750.xml"/><Relationship Id="rId134" Type="http://schemas.openxmlformats.org/officeDocument/2006/relationships/slideLayout" Target="../slideLayouts/slideLayout815.xml"/><Relationship Id="rId579" Type="http://schemas.openxmlformats.org/officeDocument/2006/relationships/slideLayout" Target="../slideLayouts/slideLayout1260.xml"/><Relationship Id="rId341" Type="http://schemas.openxmlformats.org/officeDocument/2006/relationships/slideLayout" Target="../slideLayouts/slideLayout1022.xml"/><Relationship Id="rId439" Type="http://schemas.openxmlformats.org/officeDocument/2006/relationships/slideLayout" Target="../slideLayouts/slideLayout1120.xml"/><Relationship Id="rId646" Type="http://schemas.openxmlformats.org/officeDocument/2006/relationships/slideLayout" Target="../slideLayouts/slideLayout1327.xml"/><Relationship Id="rId201" Type="http://schemas.openxmlformats.org/officeDocument/2006/relationships/slideLayout" Target="../slideLayouts/slideLayout882.xml"/><Relationship Id="rId285" Type="http://schemas.openxmlformats.org/officeDocument/2006/relationships/slideLayout" Target="../slideLayouts/slideLayout966.xml"/><Relationship Id="rId506" Type="http://schemas.openxmlformats.org/officeDocument/2006/relationships/slideLayout" Target="../slideLayouts/slideLayout1187.xml"/><Relationship Id="rId492" Type="http://schemas.openxmlformats.org/officeDocument/2006/relationships/slideLayout" Target="../slideLayouts/slideLayout1173.xml"/><Relationship Id="rId145" Type="http://schemas.openxmlformats.org/officeDocument/2006/relationships/slideLayout" Target="../slideLayouts/slideLayout826.xml"/><Relationship Id="rId352" Type="http://schemas.openxmlformats.org/officeDocument/2006/relationships/slideLayout" Target="../slideLayouts/slideLayout1033.xml"/><Relationship Id="rId212" Type="http://schemas.openxmlformats.org/officeDocument/2006/relationships/slideLayout" Target="../slideLayouts/slideLayout893.xml"/><Relationship Id="rId254" Type="http://schemas.openxmlformats.org/officeDocument/2006/relationships/slideLayout" Target="../slideLayouts/slideLayout935.xml"/><Relationship Id="rId657" Type="http://schemas.openxmlformats.org/officeDocument/2006/relationships/slideLayout" Target="../slideLayouts/slideLayout1338.xml"/><Relationship Id="rId49" Type="http://schemas.openxmlformats.org/officeDocument/2006/relationships/slideLayout" Target="../slideLayouts/slideLayout730.xml"/><Relationship Id="rId114" Type="http://schemas.openxmlformats.org/officeDocument/2006/relationships/slideLayout" Target="../slideLayouts/slideLayout795.xml"/><Relationship Id="rId296" Type="http://schemas.openxmlformats.org/officeDocument/2006/relationships/slideLayout" Target="../slideLayouts/slideLayout977.xml"/><Relationship Id="rId461" Type="http://schemas.openxmlformats.org/officeDocument/2006/relationships/slideLayout" Target="../slideLayouts/slideLayout1142.xml"/><Relationship Id="rId517" Type="http://schemas.openxmlformats.org/officeDocument/2006/relationships/slideLayout" Target="../slideLayouts/slideLayout1198.xml"/><Relationship Id="rId559" Type="http://schemas.openxmlformats.org/officeDocument/2006/relationships/slideLayout" Target="../slideLayouts/slideLayout1240.xml"/><Relationship Id="rId60" Type="http://schemas.openxmlformats.org/officeDocument/2006/relationships/slideLayout" Target="../slideLayouts/slideLayout741.xml"/><Relationship Id="rId156" Type="http://schemas.openxmlformats.org/officeDocument/2006/relationships/slideLayout" Target="../slideLayouts/slideLayout837.xml"/><Relationship Id="rId198" Type="http://schemas.openxmlformats.org/officeDocument/2006/relationships/slideLayout" Target="../slideLayouts/slideLayout879.xml"/><Relationship Id="rId321" Type="http://schemas.openxmlformats.org/officeDocument/2006/relationships/slideLayout" Target="../slideLayouts/slideLayout1002.xml"/><Relationship Id="rId363" Type="http://schemas.openxmlformats.org/officeDocument/2006/relationships/slideLayout" Target="../slideLayouts/slideLayout1044.xml"/><Relationship Id="rId419" Type="http://schemas.openxmlformats.org/officeDocument/2006/relationships/slideLayout" Target="../slideLayouts/slideLayout1100.xml"/><Relationship Id="rId570" Type="http://schemas.openxmlformats.org/officeDocument/2006/relationships/slideLayout" Target="../slideLayouts/slideLayout1251.xml"/><Relationship Id="rId626" Type="http://schemas.openxmlformats.org/officeDocument/2006/relationships/slideLayout" Target="../slideLayouts/slideLayout1307.xml"/><Relationship Id="rId223" Type="http://schemas.openxmlformats.org/officeDocument/2006/relationships/slideLayout" Target="../slideLayouts/slideLayout904.xml"/><Relationship Id="rId430" Type="http://schemas.openxmlformats.org/officeDocument/2006/relationships/slideLayout" Target="../slideLayouts/slideLayout1111.xml"/><Relationship Id="rId668" Type="http://schemas.openxmlformats.org/officeDocument/2006/relationships/slideLayout" Target="../slideLayouts/slideLayout1349.xml"/><Relationship Id="rId18" Type="http://schemas.openxmlformats.org/officeDocument/2006/relationships/slideLayout" Target="../slideLayouts/slideLayout699.xml"/><Relationship Id="rId265" Type="http://schemas.openxmlformats.org/officeDocument/2006/relationships/slideLayout" Target="../slideLayouts/slideLayout946.xml"/><Relationship Id="rId472" Type="http://schemas.openxmlformats.org/officeDocument/2006/relationships/slideLayout" Target="../slideLayouts/slideLayout1153.xml"/><Relationship Id="rId528" Type="http://schemas.openxmlformats.org/officeDocument/2006/relationships/slideLayout" Target="../slideLayouts/slideLayout1209.xml"/><Relationship Id="rId125" Type="http://schemas.openxmlformats.org/officeDocument/2006/relationships/slideLayout" Target="../slideLayouts/slideLayout806.xml"/><Relationship Id="rId167" Type="http://schemas.openxmlformats.org/officeDocument/2006/relationships/slideLayout" Target="../slideLayouts/slideLayout848.xml"/><Relationship Id="rId332" Type="http://schemas.openxmlformats.org/officeDocument/2006/relationships/slideLayout" Target="../slideLayouts/slideLayout1013.xml"/><Relationship Id="rId374" Type="http://schemas.openxmlformats.org/officeDocument/2006/relationships/slideLayout" Target="../slideLayouts/slideLayout1055.xml"/><Relationship Id="rId581" Type="http://schemas.openxmlformats.org/officeDocument/2006/relationships/slideLayout" Target="../slideLayouts/slideLayout1262.xml"/><Relationship Id="rId71" Type="http://schemas.openxmlformats.org/officeDocument/2006/relationships/slideLayout" Target="../slideLayouts/slideLayout752.xml"/><Relationship Id="rId234" Type="http://schemas.openxmlformats.org/officeDocument/2006/relationships/slideLayout" Target="../slideLayouts/slideLayout915.xml"/><Relationship Id="rId637" Type="http://schemas.openxmlformats.org/officeDocument/2006/relationships/slideLayout" Target="../slideLayouts/slideLayout1318.xml"/><Relationship Id="rId679" Type="http://schemas.openxmlformats.org/officeDocument/2006/relationships/slideLayout" Target="../slideLayouts/slideLayout1360.xml"/><Relationship Id="rId2" Type="http://schemas.openxmlformats.org/officeDocument/2006/relationships/slideLayout" Target="../slideLayouts/slideLayout683.xml"/><Relationship Id="rId29" Type="http://schemas.openxmlformats.org/officeDocument/2006/relationships/slideLayout" Target="../slideLayouts/slideLayout710.xml"/><Relationship Id="rId276" Type="http://schemas.openxmlformats.org/officeDocument/2006/relationships/slideLayout" Target="../slideLayouts/slideLayout957.xml"/><Relationship Id="rId441" Type="http://schemas.openxmlformats.org/officeDocument/2006/relationships/slideLayout" Target="../slideLayouts/slideLayout1122.xml"/><Relationship Id="rId483" Type="http://schemas.openxmlformats.org/officeDocument/2006/relationships/slideLayout" Target="../slideLayouts/slideLayout1164.xml"/><Relationship Id="rId539" Type="http://schemas.openxmlformats.org/officeDocument/2006/relationships/slideLayout" Target="../slideLayouts/slideLayout1220.xml"/><Relationship Id="rId40" Type="http://schemas.openxmlformats.org/officeDocument/2006/relationships/slideLayout" Target="../slideLayouts/slideLayout721.xml"/><Relationship Id="rId136" Type="http://schemas.openxmlformats.org/officeDocument/2006/relationships/slideLayout" Target="../slideLayouts/slideLayout817.xml"/><Relationship Id="rId178" Type="http://schemas.openxmlformats.org/officeDocument/2006/relationships/slideLayout" Target="../slideLayouts/slideLayout859.xml"/><Relationship Id="rId301" Type="http://schemas.openxmlformats.org/officeDocument/2006/relationships/slideLayout" Target="../slideLayouts/slideLayout982.xml"/><Relationship Id="rId343" Type="http://schemas.openxmlformats.org/officeDocument/2006/relationships/slideLayout" Target="../slideLayouts/slideLayout1024.xml"/><Relationship Id="rId550" Type="http://schemas.openxmlformats.org/officeDocument/2006/relationships/slideLayout" Target="../slideLayouts/slideLayout1231.xml"/><Relationship Id="rId82" Type="http://schemas.openxmlformats.org/officeDocument/2006/relationships/slideLayout" Target="../slideLayouts/slideLayout763.xml"/><Relationship Id="rId203" Type="http://schemas.openxmlformats.org/officeDocument/2006/relationships/slideLayout" Target="../slideLayouts/slideLayout884.xml"/><Relationship Id="rId385" Type="http://schemas.openxmlformats.org/officeDocument/2006/relationships/slideLayout" Target="../slideLayouts/slideLayout1066.xml"/><Relationship Id="rId592" Type="http://schemas.openxmlformats.org/officeDocument/2006/relationships/slideLayout" Target="../slideLayouts/slideLayout1273.xml"/><Relationship Id="rId606" Type="http://schemas.openxmlformats.org/officeDocument/2006/relationships/slideLayout" Target="../slideLayouts/slideLayout1287.xml"/><Relationship Id="rId648" Type="http://schemas.openxmlformats.org/officeDocument/2006/relationships/slideLayout" Target="../slideLayouts/slideLayout1329.xml"/><Relationship Id="rId245" Type="http://schemas.openxmlformats.org/officeDocument/2006/relationships/slideLayout" Target="../slideLayouts/slideLayout926.xml"/><Relationship Id="rId287" Type="http://schemas.openxmlformats.org/officeDocument/2006/relationships/slideLayout" Target="../slideLayouts/slideLayout968.xml"/><Relationship Id="rId410" Type="http://schemas.openxmlformats.org/officeDocument/2006/relationships/slideLayout" Target="../slideLayouts/slideLayout1091.xml"/><Relationship Id="rId452" Type="http://schemas.openxmlformats.org/officeDocument/2006/relationships/slideLayout" Target="../slideLayouts/slideLayout1133.xml"/><Relationship Id="rId494" Type="http://schemas.openxmlformats.org/officeDocument/2006/relationships/slideLayout" Target="../slideLayouts/slideLayout1175.xml"/><Relationship Id="rId508" Type="http://schemas.openxmlformats.org/officeDocument/2006/relationships/slideLayout" Target="../slideLayouts/slideLayout1189.xml"/><Relationship Id="rId105" Type="http://schemas.openxmlformats.org/officeDocument/2006/relationships/slideLayout" Target="../slideLayouts/slideLayout786.xml"/><Relationship Id="rId147" Type="http://schemas.openxmlformats.org/officeDocument/2006/relationships/slideLayout" Target="../slideLayouts/slideLayout828.xml"/><Relationship Id="rId312" Type="http://schemas.openxmlformats.org/officeDocument/2006/relationships/slideLayout" Target="../slideLayouts/slideLayout993.xml"/><Relationship Id="rId354" Type="http://schemas.openxmlformats.org/officeDocument/2006/relationships/slideLayout" Target="../slideLayouts/slideLayout1035.xml"/><Relationship Id="rId51" Type="http://schemas.openxmlformats.org/officeDocument/2006/relationships/slideLayout" Target="../slideLayouts/slideLayout732.xml"/><Relationship Id="rId93" Type="http://schemas.openxmlformats.org/officeDocument/2006/relationships/slideLayout" Target="../slideLayouts/slideLayout774.xml"/><Relationship Id="rId189" Type="http://schemas.openxmlformats.org/officeDocument/2006/relationships/slideLayout" Target="../slideLayouts/slideLayout870.xml"/><Relationship Id="rId396" Type="http://schemas.openxmlformats.org/officeDocument/2006/relationships/slideLayout" Target="../slideLayouts/slideLayout1077.xml"/><Relationship Id="rId561" Type="http://schemas.openxmlformats.org/officeDocument/2006/relationships/slideLayout" Target="../slideLayouts/slideLayout1242.xml"/><Relationship Id="rId617" Type="http://schemas.openxmlformats.org/officeDocument/2006/relationships/slideLayout" Target="../slideLayouts/slideLayout1298.xml"/><Relationship Id="rId659" Type="http://schemas.openxmlformats.org/officeDocument/2006/relationships/slideLayout" Target="../slideLayouts/slideLayout1340.xml"/><Relationship Id="rId214" Type="http://schemas.openxmlformats.org/officeDocument/2006/relationships/slideLayout" Target="../slideLayouts/slideLayout895.xml"/><Relationship Id="rId256" Type="http://schemas.openxmlformats.org/officeDocument/2006/relationships/slideLayout" Target="../slideLayouts/slideLayout937.xml"/><Relationship Id="rId298" Type="http://schemas.openxmlformats.org/officeDocument/2006/relationships/slideLayout" Target="../slideLayouts/slideLayout979.xml"/><Relationship Id="rId421" Type="http://schemas.openxmlformats.org/officeDocument/2006/relationships/slideLayout" Target="../slideLayouts/slideLayout1102.xml"/><Relationship Id="rId463" Type="http://schemas.openxmlformats.org/officeDocument/2006/relationships/slideLayout" Target="../slideLayouts/slideLayout1144.xml"/><Relationship Id="rId519" Type="http://schemas.openxmlformats.org/officeDocument/2006/relationships/slideLayout" Target="../slideLayouts/slideLayout1200.xml"/><Relationship Id="rId670" Type="http://schemas.openxmlformats.org/officeDocument/2006/relationships/slideLayout" Target="../slideLayouts/slideLayout1351.xml"/><Relationship Id="rId116" Type="http://schemas.openxmlformats.org/officeDocument/2006/relationships/slideLayout" Target="../slideLayouts/slideLayout797.xml"/><Relationship Id="rId158" Type="http://schemas.openxmlformats.org/officeDocument/2006/relationships/slideLayout" Target="../slideLayouts/slideLayout839.xml"/><Relationship Id="rId323" Type="http://schemas.openxmlformats.org/officeDocument/2006/relationships/slideLayout" Target="../slideLayouts/slideLayout1004.xml"/><Relationship Id="rId530" Type="http://schemas.openxmlformats.org/officeDocument/2006/relationships/slideLayout" Target="../slideLayouts/slideLayout1211.xml"/><Relationship Id="rId20" Type="http://schemas.openxmlformats.org/officeDocument/2006/relationships/slideLayout" Target="../slideLayouts/slideLayout701.xml"/><Relationship Id="rId62" Type="http://schemas.openxmlformats.org/officeDocument/2006/relationships/slideLayout" Target="../slideLayouts/slideLayout743.xml"/><Relationship Id="rId365" Type="http://schemas.openxmlformats.org/officeDocument/2006/relationships/slideLayout" Target="../slideLayouts/slideLayout1046.xml"/><Relationship Id="rId572" Type="http://schemas.openxmlformats.org/officeDocument/2006/relationships/slideLayout" Target="../slideLayouts/slideLayout1253.xml"/><Relationship Id="rId628" Type="http://schemas.openxmlformats.org/officeDocument/2006/relationships/slideLayout" Target="../slideLayouts/slideLayout1309.xml"/><Relationship Id="rId225" Type="http://schemas.openxmlformats.org/officeDocument/2006/relationships/slideLayout" Target="../slideLayouts/slideLayout906.xml"/><Relationship Id="rId267" Type="http://schemas.openxmlformats.org/officeDocument/2006/relationships/slideLayout" Target="../slideLayouts/slideLayout948.xml"/><Relationship Id="rId432" Type="http://schemas.openxmlformats.org/officeDocument/2006/relationships/slideLayout" Target="../slideLayouts/slideLayout1113.xml"/><Relationship Id="rId474" Type="http://schemas.openxmlformats.org/officeDocument/2006/relationships/slideLayout" Target="../slideLayouts/slideLayout1155.xml"/><Relationship Id="rId127" Type="http://schemas.openxmlformats.org/officeDocument/2006/relationships/slideLayout" Target="../slideLayouts/slideLayout808.xml"/><Relationship Id="rId681" Type="http://schemas.openxmlformats.org/officeDocument/2006/relationships/slideLayout" Target="../slideLayouts/slideLayout1362.xml"/><Relationship Id="rId31" Type="http://schemas.openxmlformats.org/officeDocument/2006/relationships/slideLayout" Target="../slideLayouts/slideLayout712.xml"/><Relationship Id="rId73" Type="http://schemas.openxmlformats.org/officeDocument/2006/relationships/slideLayout" Target="../slideLayouts/slideLayout754.xml"/><Relationship Id="rId169" Type="http://schemas.openxmlformats.org/officeDocument/2006/relationships/slideLayout" Target="../slideLayouts/slideLayout850.xml"/><Relationship Id="rId334" Type="http://schemas.openxmlformats.org/officeDocument/2006/relationships/slideLayout" Target="../slideLayouts/slideLayout1015.xml"/><Relationship Id="rId376" Type="http://schemas.openxmlformats.org/officeDocument/2006/relationships/slideLayout" Target="../slideLayouts/slideLayout1057.xml"/><Relationship Id="rId541" Type="http://schemas.openxmlformats.org/officeDocument/2006/relationships/slideLayout" Target="../slideLayouts/slideLayout1222.xml"/><Relationship Id="rId583" Type="http://schemas.openxmlformats.org/officeDocument/2006/relationships/slideLayout" Target="../slideLayouts/slideLayout1264.xml"/><Relationship Id="rId639" Type="http://schemas.openxmlformats.org/officeDocument/2006/relationships/slideLayout" Target="../slideLayouts/slideLayout1320.xml"/><Relationship Id="rId4" Type="http://schemas.openxmlformats.org/officeDocument/2006/relationships/slideLayout" Target="../slideLayouts/slideLayout685.xml"/><Relationship Id="rId180" Type="http://schemas.openxmlformats.org/officeDocument/2006/relationships/slideLayout" Target="../slideLayouts/slideLayout861.xml"/><Relationship Id="rId236" Type="http://schemas.openxmlformats.org/officeDocument/2006/relationships/slideLayout" Target="../slideLayouts/slideLayout917.xml"/><Relationship Id="rId278" Type="http://schemas.openxmlformats.org/officeDocument/2006/relationships/slideLayout" Target="../slideLayouts/slideLayout959.xml"/><Relationship Id="rId401" Type="http://schemas.openxmlformats.org/officeDocument/2006/relationships/slideLayout" Target="../slideLayouts/slideLayout1082.xml"/><Relationship Id="rId443" Type="http://schemas.openxmlformats.org/officeDocument/2006/relationships/slideLayout" Target="../slideLayouts/slideLayout1124.xml"/><Relationship Id="rId650" Type="http://schemas.openxmlformats.org/officeDocument/2006/relationships/slideLayout" Target="../slideLayouts/slideLayout1331.xml"/><Relationship Id="rId303" Type="http://schemas.openxmlformats.org/officeDocument/2006/relationships/slideLayout" Target="../slideLayouts/slideLayout984.xml"/><Relationship Id="rId485" Type="http://schemas.openxmlformats.org/officeDocument/2006/relationships/slideLayout" Target="../slideLayouts/slideLayout1166.xml"/><Relationship Id="rId42" Type="http://schemas.openxmlformats.org/officeDocument/2006/relationships/slideLayout" Target="../slideLayouts/slideLayout723.xml"/><Relationship Id="rId84" Type="http://schemas.openxmlformats.org/officeDocument/2006/relationships/slideLayout" Target="../slideLayouts/slideLayout765.xml"/><Relationship Id="rId138" Type="http://schemas.openxmlformats.org/officeDocument/2006/relationships/slideLayout" Target="../slideLayouts/slideLayout819.xml"/><Relationship Id="rId345" Type="http://schemas.openxmlformats.org/officeDocument/2006/relationships/slideLayout" Target="../slideLayouts/slideLayout1026.xml"/><Relationship Id="rId387" Type="http://schemas.openxmlformats.org/officeDocument/2006/relationships/slideLayout" Target="../slideLayouts/slideLayout1068.xml"/><Relationship Id="rId510" Type="http://schemas.openxmlformats.org/officeDocument/2006/relationships/slideLayout" Target="../slideLayouts/slideLayout1191.xml"/><Relationship Id="rId552" Type="http://schemas.openxmlformats.org/officeDocument/2006/relationships/slideLayout" Target="../slideLayouts/slideLayout1233.xml"/><Relationship Id="rId594" Type="http://schemas.openxmlformats.org/officeDocument/2006/relationships/slideLayout" Target="../slideLayouts/slideLayout1275.xml"/><Relationship Id="rId608" Type="http://schemas.openxmlformats.org/officeDocument/2006/relationships/slideLayout" Target="../slideLayouts/slideLayout1289.xml"/><Relationship Id="rId191" Type="http://schemas.openxmlformats.org/officeDocument/2006/relationships/slideLayout" Target="../slideLayouts/slideLayout872.xml"/><Relationship Id="rId205" Type="http://schemas.openxmlformats.org/officeDocument/2006/relationships/slideLayout" Target="../slideLayouts/slideLayout886.xml"/><Relationship Id="rId247" Type="http://schemas.openxmlformats.org/officeDocument/2006/relationships/slideLayout" Target="../slideLayouts/slideLayout928.xml"/><Relationship Id="rId412" Type="http://schemas.openxmlformats.org/officeDocument/2006/relationships/slideLayout" Target="../slideLayouts/slideLayout1093.xml"/><Relationship Id="rId107" Type="http://schemas.openxmlformats.org/officeDocument/2006/relationships/slideLayout" Target="../slideLayouts/slideLayout788.xml"/><Relationship Id="rId289" Type="http://schemas.openxmlformats.org/officeDocument/2006/relationships/slideLayout" Target="../slideLayouts/slideLayout970.xml"/><Relationship Id="rId454" Type="http://schemas.openxmlformats.org/officeDocument/2006/relationships/slideLayout" Target="../slideLayouts/slideLayout1135.xml"/><Relationship Id="rId496" Type="http://schemas.openxmlformats.org/officeDocument/2006/relationships/slideLayout" Target="../slideLayouts/slideLayout1177.xml"/><Relationship Id="rId661" Type="http://schemas.openxmlformats.org/officeDocument/2006/relationships/slideLayout" Target="../slideLayouts/slideLayout1342.xml"/><Relationship Id="rId11" Type="http://schemas.openxmlformats.org/officeDocument/2006/relationships/slideLayout" Target="../slideLayouts/slideLayout692.xml"/><Relationship Id="rId53" Type="http://schemas.openxmlformats.org/officeDocument/2006/relationships/slideLayout" Target="../slideLayouts/slideLayout734.xml"/><Relationship Id="rId149" Type="http://schemas.openxmlformats.org/officeDocument/2006/relationships/slideLayout" Target="../slideLayouts/slideLayout830.xml"/><Relationship Id="rId314" Type="http://schemas.openxmlformats.org/officeDocument/2006/relationships/slideLayout" Target="../slideLayouts/slideLayout995.xml"/><Relationship Id="rId356" Type="http://schemas.openxmlformats.org/officeDocument/2006/relationships/slideLayout" Target="../slideLayouts/slideLayout1037.xml"/><Relationship Id="rId398" Type="http://schemas.openxmlformats.org/officeDocument/2006/relationships/slideLayout" Target="../slideLayouts/slideLayout1079.xml"/><Relationship Id="rId521" Type="http://schemas.openxmlformats.org/officeDocument/2006/relationships/slideLayout" Target="../slideLayouts/slideLayout1202.xml"/><Relationship Id="rId563" Type="http://schemas.openxmlformats.org/officeDocument/2006/relationships/slideLayout" Target="../slideLayouts/slideLayout1244.xml"/><Relationship Id="rId619" Type="http://schemas.openxmlformats.org/officeDocument/2006/relationships/slideLayout" Target="../slideLayouts/slideLayout1300.xml"/><Relationship Id="rId95" Type="http://schemas.openxmlformats.org/officeDocument/2006/relationships/slideLayout" Target="../slideLayouts/slideLayout776.xml"/><Relationship Id="rId160" Type="http://schemas.openxmlformats.org/officeDocument/2006/relationships/slideLayout" Target="../slideLayouts/slideLayout841.xml"/><Relationship Id="rId216" Type="http://schemas.openxmlformats.org/officeDocument/2006/relationships/slideLayout" Target="../slideLayouts/slideLayout897.xml"/><Relationship Id="rId423" Type="http://schemas.openxmlformats.org/officeDocument/2006/relationships/slideLayout" Target="../slideLayouts/slideLayout1104.xml"/><Relationship Id="rId258" Type="http://schemas.openxmlformats.org/officeDocument/2006/relationships/slideLayout" Target="../slideLayouts/slideLayout939.xml"/><Relationship Id="rId465" Type="http://schemas.openxmlformats.org/officeDocument/2006/relationships/slideLayout" Target="../slideLayouts/slideLayout1146.xml"/><Relationship Id="rId630" Type="http://schemas.openxmlformats.org/officeDocument/2006/relationships/slideLayout" Target="../slideLayouts/slideLayout1311.xml"/><Relationship Id="rId672" Type="http://schemas.openxmlformats.org/officeDocument/2006/relationships/slideLayout" Target="../slideLayouts/slideLayout1353.xml"/><Relationship Id="rId22" Type="http://schemas.openxmlformats.org/officeDocument/2006/relationships/slideLayout" Target="../slideLayouts/slideLayout703.xml"/><Relationship Id="rId64" Type="http://schemas.openxmlformats.org/officeDocument/2006/relationships/slideLayout" Target="../slideLayouts/slideLayout745.xml"/><Relationship Id="rId118" Type="http://schemas.openxmlformats.org/officeDocument/2006/relationships/slideLayout" Target="../slideLayouts/slideLayout799.xml"/><Relationship Id="rId325" Type="http://schemas.openxmlformats.org/officeDocument/2006/relationships/slideLayout" Target="../slideLayouts/slideLayout1006.xml"/><Relationship Id="rId367" Type="http://schemas.openxmlformats.org/officeDocument/2006/relationships/slideLayout" Target="../slideLayouts/slideLayout1048.xml"/><Relationship Id="rId532" Type="http://schemas.openxmlformats.org/officeDocument/2006/relationships/slideLayout" Target="../slideLayouts/slideLayout1213.xml"/><Relationship Id="rId574" Type="http://schemas.openxmlformats.org/officeDocument/2006/relationships/slideLayout" Target="../slideLayouts/slideLayout1255.xml"/><Relationship Id="rId171" Type="http://schemas.openxmlformats.org/officeDocument/2006/relationships/slideLayout" Target="../slideLayouts/slideLayout852.xml"/><Relationship Id="rId227" Type="http://schemas.openxmlformats.org/officeDocument/2006/relationships/slideLayout" Target="../slideLayouts/slideLayout908.xml"/><Relationship Id="rId269" Type="http://schemas.openxmlformats.org/officeDocument/2006/relationships/slideLayout" Target="../slideLayouts/slideLayout950.xml"/><Relationship Id="rId434" Type="http://schemas.openxmlformats.org/officeDocument/2006/relationships/slideLayout" Target="../slideLayouts/slideLayout1115.xml"/><Relationship Id="rId476" Type="http://schemas.openxmlformats.org/officeDocument/2006/relationships/slideLayout" Target="../slideLayouts/slideLayout1157.xml"/><Relationship Id="rId641" Type="http://schemas.openxmlformats.org/officeDocument/2006/relationships/slideLayout" Target="../slideLayouts/slideLayout1322.xml"/><Relationship Id="rId683" Type="http://schemas.openxmlformats.org/officeDocument/2006/relationships/slideLayout" Target="../slideLayouts/slideLayout1364.xml"/><Relationship Id="rId33" Type="http://schemas.openxmlformats.org/officeDocument/2006/relationships/slideLayout" Target="../slideLayouts/slideLayout714.xml"/><Relationship Id="rId129" Type="http://schemas.openxmlformats.org/officeDocument/2006/relationships/slideLayout" Target="../slideLayouts/slideLayout810.xml"/><Relationship Id="rId280" Type="http://schemas.openxmlformats.org/officeDocument/2006/relationships/slideLayout" Target="../slideLayouts/slideLayout961.xml"/><Relationship Id="rId336" Type="http://schemas.openxmlformats.org/officeDocument/2006/relationships/slideLayout" Target="../slideLayouts/slideLayout1017.xml"/><Relationship Id="rId501" Type="http://schemas.openxmlformats.org/officeDocument/2006/relationships/slideLayout" Target="../slideLayouts/slideLayout1182.xml"/><Relationship Id="rId543" Type="http://schemas.openxmlformats.org/officeDocument/2006/relationships/slideLayout" Target="../slideLayouts/slideLayout1224.xml"/><Relationship Id="rId75" Type="http://schemas.openxmlformats.org/officeDocument/2006/relationships/slideLayout" Target="../slideLayouts/slideLayout756.xml"/><Relationship Id="rId140" Type="http://schemas.openxmlformats.org/officeDocument/2006/relationships/slideLayout" Target="../slideLayouts/slideLayout821.xml"/><Relationship Id="rId182" Type="http://schemas.openxmlformats.org/officeDocument/2006/relationships/slideLayout" Target="../slideLayouts/slideLayout863.xml"/><Relationship Id="rId378" Type="http://schemas.openxmlformats.org/officeDocument/2006/relationships/slideLayout" Target="../slideLayouts/slideLayout1059.xml"/><Relationship Id="rId403" Type="http://schemas.openxmlformats.org/officeDocument/2006/relationships/slideLayout" Target="../slideLayouts/slideLayout1084.xml"/><Relationship Id="rId585" Type="http://schemas.openxmlformats.org/officeDocument/2006/relationships/slideLayout" Target="../slideLayouts/slideLayout1266.xml"/><Relationship Id="rId6" Type="http://schemas.openxmlformats.org/officeDocument/2006/relationships/slideLayout" Target="../slideLayouts/slideLayout687.xml"/><Relationship Id="rId238" Type="http://schemas.openxmlformats.org/officeDocument/2006/relationships/slideLayout" Target="../slideLayouts/slideLayout919.xml"/><Relationship Id="rId445" Type="http://schemas.openxmlformats.org/officeDocument/2006/relationships/slideLayout" Target="../slideLayouts/slideLayout1126.xml"/><Relationship Id="rId487" Type="http://schemas.openxmlformats.org/officeDocument/2006/relationships/slideLayout" Target="../slideLayouts/slideLayout1168.xml"/><Relationship Id="rId610" Type="http://schemas.openxmlformats.org/officeDocument/2006/relationships/slideLayout" Target="../slideLayouts/slideLayout1291.xml"/><Relationship Id="rId652" Type="http://schemas.openxmlformats.org/officeDocument/2006/relationships/slideLayout" Target="../slideLayouts/slideLayout1333.xml"/><Relationship Id="rId291" Type="http://schemas.openxmlformats.org/officeDocument/2006/relationships/slideLayout" Target="../slideLayouts/slideLayout972.xml"/><Relationship Id="rId305" Type="http://schemas.openxmlformats.org/officeDocument/2006/relationships/slideLayout" Target="../slideLayouts/slideLayout986.xml"/><Relationship Id="rId347" Type="http://schemas.openxmlformats.org/officeDocument/2006/relationships/slideLayout" Target="../slideLayouts/slideLayout1028.xml"/><Relationship Id="rId512" Type="http://schemas.openxmlformats.org/officeDocument/2006/relationships/slideLayout" Target="../slideLayouts/slideLayout1193.xml"/><Relationship Id="rId44" Type="http://schemas.openxmlformats.org/officeDocument/2006/relationships/slideLayout" Target="../slideLayouts/slideLayout725.xml"/><Relationship Id="rId86" Type="http://schemas.openxmlformats.org/officeDocument/2006/relationships/slideLayout" Target="../slideLayouts/slideLayout767.xml"/><Relationship Id="rId151" Type="http://schemas.openxmlformats.org/officeDocument/2006/relationships/slideLayout" Target="../slideLayouts/slideLayout832.xml"/><Relationship Id="rId389" Type="http://schemas.openxmlformats.org/officeDocument/2006/relationships/slideLayout" Target="../slideLayouts/slideLayout1070.xml"/><Relationship Id="rId554" Type="http://schemas.openxmlformats.org/officeDocument/2006/relationships/slideLayout" Target="../slideLayouts/slideLayout1235.xml"/><Relationship Id="rId596" Type="http://schemas.openxmlformats.org/officeDocument/2006/relationships/slideLayout" Target="../slideLayouts/slideLayout1277.xml"/><Relationship Id="rId193" Type="http://schemas.openxmlformats.org/officeDocument/2006/relationships/slideLayout" Target="../slideLayouts/slideLayout874.xml"/><Relationship Id="rId207" Type="http://schemas.openxmlformats.org/officeDocument/2006/relationships/slideLayout" Target="../slideLayouts/slideLayout888.xml"/><Relationship Id="rId249" Type="http://schemas.openxmlformats.org/officeDocument/2006/relationships/slideLayout" Target="../slideLayouts/slideLayout930.xml"/><Relationship Id="rId414" Type="http://schemas.openxmlformats.org/officeDocument/2006/relationships/slideLayout" Target="../slideLayouts/slideLayout1095.xml"/><Relationship Id="rId456" Type="http://schemas.openxmlformats.org/officeDocument/2006/relationships/slideLayout" Target="../slideLayouts/slideLayout1137.xml"/><Relationship Id="rId498" Type="http://schemas.openxmlformats.org/officeDocument/2006/relationships/slideLayout" Target="../slideLayouts/slideLayout1179.xml"/><Relationship Id="rId621" Type="http://schemas.openxmlformats.org/officeDocument/2006/relationships/slideLayout" Target="../slideLayouts/slideLayout1302.xml"/><Relationship Id="rId663" Type="http://schemas.openxmlformats.org/officeDocument/2006/relationships/slideLayout" Target="../slideLayouts/slideLayout1344.xml"/><Relationship Id="rId13" Type="http://schemas.openxmlformats.org/officeDocument/2006/relationships/slideLayout" Target="../slideLayouts/slideLayout694.xml"/><Relationship Id="rId109" Type="http://schemas.openxmlformats.org/officeDocument/2006/relationships/slideLayout" Target="../slideLayouts/slideLayout790.xml"/><Relationship Id="rId260" Type="http://schemas.openxmlformats.org/officeDocument/2006/relationships/slideLayout" Target="../slideLayouts/slideLayout941.xml"/><Relationship Id="rId316" Type="http://schemas.openxmlformats.org/officeDocument/2006/relationships/slideLayout" Target="../slideLayouts/slideLayout997.xml"/><Relationship Id="rId523" Type="http://schemas.openxmlformats.org/officeDocument/2006/relationships/slideLayout" Target="../slideLayouts/slideLayout1204.xml"/><Relationship Id="rId55" Type="http://schemas.openxmlformats.org/officeDocument/2006/relationships/slideLayout" Target="../slideLayouts/slideLayout736.xml"/><Relationship Id="rId97" Type="http://schemas.openxmlformats.org/officeDocument/2006/relationships/slideLayout" Target="../slideLayouts/slideLayout778.xml"/><Relationship Id="rId120" Type="http://schemas.openxmlformats.org/officeDocument/2006/relationships/slideLayout" Target="../slideLayouts/slideLayout801.xml"/><Relationship Id="rId358" Type="http://schemas.openxmlformats.org/officeDocument/2006/relationships/slideLayout" Target="../slideLayouts/slideLayout1039.xml"/><Relationship Id="rId565" Type="http://schemas.openxmlformats.org/officeDocument/2006/relationships/slideLayout" Target="../slideLayouts/slideLayout1246.xml"/><Relationship Id="rId162" Type="http://schemas.openxmlformats.org/officeDocument/2006/relationships/slideLayout" Target="../slideLayouts/slideLayout843.xml"/><Relationship Id="rId218" Type="http://schemas.openxmlformats.org/officeDocument/2006/relationships/slideLayout" Target="../slideLayouts/slideLayout899.xml"/><Relationship Id="rId425" Type="http://schemas.openxmlformats.org/officeDocument/2006/relationships/slideLayout" Target="../slideLayouts/slideLayout1106.xml"/><Relationship Id="rId467" Type="http://schemas.openxmlformats.org/officeDocument/2006/relationships/slideLayout" Target="../slideLayouts/slideLayout1148.xml"/><Relationship Id="rId632" Type="http://schemas.openxmlformats.org/officeDocument/2006/relationships/slideLayout" Target="../slideLayouts/slideLayout1313.xml"/><Relationship Id="rId271" Type="http://schemas.openxmlformats.org/officeDocument/2006/relationships/slideLayout" Target="../slideLayouts/slideLayout952.xml"/><Relationship Id="rId674" Type="http://schemas.openxmlformats.org/officeDocument/2006/relationships/slideLayout" Target="../slideLayouts/slideLayout1355.xml"/><Relationship Id="rId24" Type="http://schemas.openxmlformats.org/officeDocument/2006/relationships/slideLayout" Target="../slideLayouts/slideLayout705.xml"/><Relationship Id="rId66" Type="http://schemas.openxmlformats.org/officeDocument/2006/relationships/slideLayout" Target="../slideLayouts/slideLayout747.xml"/><Relationship Id="rId131" Type="http://schemas.openxmlformats.org/officeDocument/2006/relationships/slideLayout" Target="../slideLayouts/slideLayout812.xml"/><Relationship Id="rId327" Type="http://schemas.openxmlformats.org/officeDocument/2006/relationships/slideLayout" Target="../slideLayouts/slideLayout1008.xml"/><Relationship Id="rId369" Type="http://schemas.openxmlformats.org/officeDocument/2006/relationships/slideLayout" Target="../slideLayouts/slideLayout1050.xml"/><Relationship Id="rId534" Type="http://schemas.openxmlformats.org/officeDocument/2006/relationships/slideLayout" Target="../slideLayouts/slideLayout1215.xml"/><Relationship Id="rId576" Type="http://schemas.openxmlformats.org/officeDocument/2006/relationships/slideLayout" Target="../slideLayouts/slideLayout1257.xml"/><Relationship Id="rId173" Type="http://schemas.openxmlformats.org/officeDocument/2006/relationships/slideLayout" Target="../slideLayouts/slideLayout854.xml"/><Relationship Id="rId229" Type="http://schemas.openxmlformats.org/officeDocument/2006/relationships/slideLayout" Target="../slideLayouts/slideLayout910.xml"/><Relationship Id="rId380" Type="http://schemas.openxmlformats.org/officeDocument/2006/relationships/slideLayout" Target="../slideLayouts/slideLayout1061.xml"/><Relationship Id="rId436" Type="http://schemas.openxmlformats.org/officeDocument/2006/relationships/slideLayout" Target="../slideLayouts/slideLayout1117.xml"/><Relationship Id="rId601" Type="http://schemas.openxmlformats.org/officeDocument/2006/relationships/slideLayout" Target="../slideLayouts/slideLayout1282.xml"/><Relationship Id="rId643" Type="http://schemas.openxmlformats.org/officeDocument/2006/relationships/slideLayout" Target="../slideLayouts/slideLayout1324.xml"/><Relationship Id="rId240" Type="http://schemas.openxmlformats.org/officeDocument/2006/relationships/slideLayout" Target="../slideLayouts/slideLayout921.xml"/><Relationship Id="rId478" Type="http://schemas.openxmlformats.org/officeDocument/2006/relationships/slideLayout" Target="../slideLayouts/slideLayout1159.xml"/><Relationship Id="rId685" Type="http://schemas.openxmlformats.org/officeDocument/2006/relationships/theme" Target="../theme/theme2.xml"/><Relationship Id="rId35" Type="http://schemas.openxmlformats.org/officeDocument/2006/relationships/slideLayout" Target="../slideLayouts/slideLayout716.xml"/><Relationship Id="rId77" Type="http://schemas.openxmlformats.org/officeDocument/2006/relationships/slideLayout" Target="../slideLayouts/slideLayout758.xml"/><Relationship Id="rId100" Type="http://schemas.openxmlformats.org/officeDocument/2006/relationships/slideLayout" Target="../slideLayouts/slideLayout781.xml"/><Relationship Id="rId282" Type="http://schemas.openxmlformats.org/officeDocument/2006/relationships/slideLayout" Target="../slideLayouts/slideLayout963.xml"/><Relationship Id="rId338" Type="http://schemas.openxmlformats.org/officeDocument/2006/relationships/slideLayout" Target="../slideLayouts/slideLayout1019.xml"/><Relationship Id="rId503" Type="http://schemas.openxmlformats.org/officeDocument/2006/relationships/slideLayout" Target="../slideLayouts/slideLayout1184.xml"/><Relationship Id="rId545" Type="http://schemas.openxmlformats.org/officeDocument/2006/relationships/slideLayout" Target="../slideLayouts/slideLayout1226.xml"/><Relationship Id="rId587" Type="http://schemas.openxmlformats.org/officeDocument/2006/relationships/slideLayout" Target="../slideLayouts/slideLayout1268.xml"/><Relationship Id="rId8" Type="http://schemas.openxmlformats.org/officeDocument/2006/relationships/slideLayout" Target="../slideLayouts/slideLayout689.xml"/><Relationship Id="rId142" Type="http://schemas.openxmlformats.org/officeDocument/2006/relationships/slideLayout" Target="../slideLayouts/slideLayout823.xml"/><Relationship Id="rId184" Type="http://schemas.openxmlformats.org/officeDocument/2006/relationships/slideLayout" Target="../slideLayouts/slideLayout865.xml"/><Relationship Id="rId391" Type="http://schemas.openxmlformats.org/officeDocument/2006/relationships/slideLayout" Target="../slideLayouts/slideLayout1072.xml"/><Relationship Id="rId405" Type="http://schemas.openxmlformats.org/officeDocument/2006/relationships/slideLayout" Target="../slideLayouts/slideLayout1086.xml"/><Relationship Id="rId447" Type="http://schemas.openxmlformats.org/officeDocument/2006/relationships/slideLayout" Target="../slideLayouts/slideLayout1128.xml"/><Relationship Id="rId612" Type="http://schemas.openxmlformats.org/officeDocument/2006/relationships/slideLayout" Target="../slideLayouts/slideLayout1293.xml"/><Relationship Id="rId251" Type="http://schemas.openxmlformats.org/officeDocument/2006/relationships/slideLayout" Target="../slideLayouts/slideLayout932.xml"/><Relationship Id="rId489" Type="http://schemas.openxmlformats.org/officeDocument/2006/relationships/slideLayout" Target="../slideLayouts/slideLayout1170.xml"/><Relationship Id="rId654" Type="http://schemas.openxmlformats.org/officeDocument/2006/relationships/slideLayout" Target="../slideLayouts/slideLayout1335.xml"/><Relationship Id="rId46" Type="http://schemas.openxmlformats.org/officeDocument/2006/relationships/slideLayout" Target="../slideLayouts/slideLayout727.xml"/><Relationship Id="rId293" Type="http://schemas.openxmlformats.org/officeDocument/2006/relationships/slideLayout" Target="../slideLayouts/slideLayout974.xml"/><Relationship Id="rId307" Type="http://schemas.openxmlformats.org/officeDocument/2006/relationships/slideLayout" Target="../slideLayouts/slideLayout988.xml"/><Relationship Id="rId349" Type="http://schemas.openxmlformats.org/officeDocument/2006/relationships/slideLayout" Target="../slideLayouts/slideLayout1030.xml"/><Relationship Id="rId514" Type="http://schemas.openxmlformats.org/officeDocument/2006/relationships/slideLayout" Target="../slideLayouts/slideLayout1195.xml"/><Relationship Id="rId556" Type="http://schemas.openxmlformats.org/officeDocument/2006/relationships/slideLayout" Target="../slideLayouts/slideLayout1237.xml"/><Relationship Id="rId88" Type="http://schemas.openxmlformats.org/officeDocument/2006/relationships/slideLayout" Target="../slideLayouts/slideLayout769.xml"/><Relationship Id="rId111" Type="http://schemas.openxmlformats.org/officeDocument/2006/relationships/slideLayout" Target="../slideLayouts/slideLayout792.xml"/><Relationship Id="rId153" Type="http://schemas.openxmlformats.org/officeDocument/2006/relationships/slideLayout" Target="../slideLayouts/slideLayout834.xml"/><Relationship Id="rId195" Type="http://schemas.openxmlformats.org/officeDocument/2006/relationships/slideLayout" Target="../slideLayouts/slideLayout876.xml"/><Relationship Id="rId209" Type="http://schemas.openxmlformats.org/officeDocument/2006/relationships/slideLayout" Target="../slideLayouts/slideLayout890.xml"/><Relationship Id="rId360" Type="http://schemas.openxmlformats.org/officeDocument/2006/relationships/slideLayout" Target="../slideLayouts/slideLayout1041.xml"/><Relationship Id="rId416" Type="http://schemas.openxmlformats.org/officeDocument/2006/relationships/slideLayout" Target="../slideLayouts/slideLayout1097.xml"/><Relationship Id="rId598" Type="http://schemas.openxmlformats.org/officeDocument/2006/relationships/slideLayout" Target="../slideLayouts/slideLayout1279.xml"/><Relationship Id="rId220" Type="http://schemas.openxmlformats.org/officeDocument/2006/relationships/slideLayout" Target="../slideLayouts/slideLayout901.xml"/><Relationship Id="rId458" Type="http://schemas.openxmlformats.org/officeDocument/2006/relationships/slideLayout" Target="../slideLayouts/slideLayout1139.xml"/><Relationship Id="rId623" Type="http://schemas.openxmlformats.org/officeDocument/2006/relationships/slideLayout" Target="../slideLayouts/slideLayout1304.xml"/><Relationship Id="rId665" Type="http://schemas.openxmlformats.org/officeDocument/2006/relationships/slideLayout" Target="../slideLayouts/slideLayout1346.xml"/><Relationship Id="rId15" Type="http://schemas.openxmlformats.org/officeDocument/2006/relationships/slideLayout" Target="../slideLayouts/slideLayout696.xml"/><Relationship Id="rId57" Type="http://schemas.openxmlformats.org/officeDocument/2006/relationships/slideLayout" Target="../slideLayouts/slideLayout738.xml"/><Relationship Id="rId262" Type="http://schemas.openxmlformats.org/officeDocument/2006/relationships/slideLayout" Target="../slideLayouts/slideLayout943.xml"/><Relationship Id="rId318" Type="http://schemas.openxmlformats.org/officeDocument/2006/relationships/slideLayout" Target="../slideLayouts/slideLayout999.xml"/><Relationship Id="rId525" Type="http://schemas.openxmlformats.org/officeDocument/2006/relationships/slideLayout" Target="../slideLayouts/slideLayout1206.xml"/><Relationship Id="rId567" Type="http://schemas.openxmlformats.org/officeDocument/2006/relationships/slideLayout" Target="../slideLayouts/slideLayout1248.xml"/><Relationship Id="rId99" Type="http://schemas.openxmlformats.org/officeDocument/2006/relationships/slideLayout" Target="../slideLayouts/slideLayout780.xml"/><Relationship Id="rId122" Type="http://schemas.openxmlformats.org/officeDocument/2006/relationships/slideLayout" Target="../slideLayouts/slideLayout803.xml"/><Relationship Id="rId164" Type="http://schemas.openxmlformats.org/officeDocument/2006/relationships/slideLayout" Target="../slideLayouts/slideLayout845.xml"/><Relationship Id="rId371" Type="http://schemas.openxmlformats.org/officeDocument/2006/relationships/slideLayout" Target="../slideLayouts/slideLayout1052.xml"/><Relationship Id="rId427" Type="http://schemas.openxmlformats.org/officeDocument/2006/relationships/slideLayout" Target="../slideLayouts/slideLayout1108.xml"/><Relationship Id="rId469" Type="http://schemas.openxmlformats.org/officeDocument/2006/relationships/slideLayout" Target="../slideLayouts/slideLayout1150.xml"/><Relationship Id="rId634" Type="http://schemas.openxmlformats.org/officeDocument/2006/relationships/slideLayout" Target="../slideLayouts/slideLayout1315.xml"/><Relationship Id="rId676" Type="http://schemas.openxmlformats.org/officeDocument/2006/relationships/slideLayout" Target="../slideLayouts/slideLayout1357.xml"/><Relationship Id="rId26" Type="http://schemas.openxmlformats.org/officeDocument/2006/relationships/slideLayout" Target="../slideLayouts/slideLayout707.xml"/><Relationship Id="rId231" Type="http://schemas.openxmlformats.org/officeDocument/2006/relationships/slideLayout" Target="../slideLayouts/slideLayout912.xml"/><Relationship Id="rId273" Type="http://schemas.openxmlformats.org/officeDocument/2006/relationships/slideLayout" Target="../slideLayouts/slideLayout954.xml"/><Relationship Id="rId329" Type="http://schemas.openxmlformats.org/officeDocument/2006/relationships/slideLayout" Target="../slideLayouts/slideLayout1010.xml"/><Relationship Id="rId480" Type="http://schemas.openxmlformats.org/officeDocument/2006/relationships/slideLayout" Target="../slideLayouts/slideLayout1161.xml"/><Relationship Id="rId536" Type="http://schemas.openxmlformats.org/officeDocument/2006/relationships/slideLayout" Target="../slideLayouts/slideLayout1217.xml"/><Relationship Id="rId68" Type="http://schemas.openxmlformats.org/officeDocument/2006/relationships/slideLayout" Target="../slideLayouts/slideLayout749.xml"/><Relationship Id="rId133" Type="http://schemas.openxmlformats.org/officeDocument/2006/relationships/slideLayout" Target="../slideLayouts/slideLayout814.xml"/><Relationship Id="rId175" Type="http://schemas.openxmlformats.org/officeDocument/2006/relationships/slideLayout" Target="../slideLayouts/slideLayout856.xml"/><Relationship Id="rId340" Type="http://schemas.openxmlformats.org/officeDocument/2006/relationships/slideLayout" Target="../slideLayouts/slideLayout1021.xml"/><Relationship Id="rId578" Type="http://schemas.openxmlformats.org/officeDocument/2006/relationships/slideLayout" Target="../slideLayouts/slideLayout1259.xml"/><Relationship Id="rId200" Type="http://schemas.openxmlformats.org/officeDocument/2006/relationships/slideLayout" Target="../slideLayouts/slideLayout881.xml"/><Relationship Id="rId382" Type="http://schemas.openxmlformats.org/officeDocument/2006/relationships/slideLayout" Target="../slideLayouts/slideLayout1063.xml"/><Relationship Id="rId438" Type="http://schemas.openxmlformats.org/officeDocument/2006/relationships/slideLayout" Target="../slideLayouts/slideLayout1119.xml"/><Relationship Id="rId603" Type="http://schemas.openxmlformats.org/officeDocument/2006/relationships/slideLayout" Target="../slideLayouts/slideLayout1284.xml"/><Relationship Id="rId645" Type="http://schemas.openxmlformats.org/officeDocument/2006/relationships/slideLayout" Target="../slideLayouts/slideLayout1326.xml"/><Relationship Id="rId242" Type="http://schemas.openxmlformats.org/officeDocument/2006/relationships/slideLayout" Target="../slideLayouts/slideLayout923.xml"/><Relationship Id="rId284" Type="http://schemas.openxmlformats.org/officeDocument/2006/relationships/slideLayout" Target="../slideLayouts/slideLayout965.xml"/><Relationship Id="rId491" Type="http://schemas.openxmlformats.org/officeDocument/2006/relationships/slideLayout" Target="../slideLayouts/slideLayout1172.xml"/><Relationship Id="rId505" Type="http://schemas.openxmlformats.org/officeDocument/2006/relationships/slideLayout" Target="../slideLayouts/slideLayout1186.xml"/><Relationship Id="rId37" Type="http://schemas.openxmlformats.org/officeDocument/2006/relationships/slideLayout" Target="../slideLayouts/slideLayout718.xml"/><Relationship Id="rId79" Type="http://schemas.openxmlformats.org/officeDocument/2006/relationships/slideLayout" Target="../slideLayouts/slideLayout760.xml"/><Relationship Id="rId102" Type="http://schemas.openxmlformats.org/officeDocument/2006/relationships/slideLayout" Target="../slideLayouts/slideLayout783.xml"/><Relationship Id="rId144" Type="http://schemas.openxmlformats.org/officeDocument/2006/relationships/slideLayout" Target="../slideLayouts/slideLayout825.xml"/><Relationship Id="rId547" Type="http://schemas.openxmlformats.org/officeDocument/2006/relationships/slideLayout" Target="../slideLayouts/slideLayout1228.xml"/><Relationship Id="rId589" Type="http://schemas.openxmlformats.org/officeDocument/2006/relationships/slideLayout" Target="../slideLayouts/slideLayout1270.xml"/><Relationship Id="rId90" Type="http://schemas.openxmlformats.org/officeDocument/2006/relationships/slideLayout" Target="../slideLayouts/slideLayout771.xml"/><Relationship Id="rId186" Type="http://schemas.openxmlformats.org/officeDocument/2006/relationships/slideLayout" Target="../slideLayouts/slideLayout867.xml"/><Relationship Id="rId351" Type="http://schemas.openxmlformats.org/officeDocument/2006/relationships/slideLayout" Target="../slideLayouts/slideLayout1032.xml"/><Relationship Id="rId393" Type="http://schemas.openxmlformats.org/officeDocument/2006/relationships/slideLayout" Target="../slideLayouts/slideLayout1074.xml"/><Relationship Id="rId407" Type="http://schemas.openxmlformats.org/officeDocument/2006/relationships/slideLayout" Target="../slideLayouts/slideLayout1088.xml"/><Relationship Id="rId449" Type="http://schemas.openxmlformats.org/officeDocument/2006/relationships/slideLayout" Target="../slideLayouts/slideLayout1130.xml"/><Relationship Id="rId614" Type="http://schemas.openxmlformats.org/officeDocument/2006/relationships/slideLayout" Target="../slideLayouts/slideLayout1295.xml"/><Relationship Id="rId656" Type="http://schemas.openxmlformats.org/officeDocument/2006/relationships/slideLayout" Target="../slideLayouts/slideLayout1337.xml"/><Relationship Id="rId211" Type="http://schemas.openxmlformats.org/officeDocument/2006/relationships/slideLayout" Target="../slideLayouts/slideLayout892.xml"/><Relationship Id="rId253" Type="http://schemas.openxmlformats.org/officeDocument/2006/relationships/slideLayout" Target="../slideLayouts/slideLayout934.xml"/><Relationship Id="rId295" Type="http://schemas.openxmlformats.org/officeDocument/2006/relationships/slideLayout" Target="../slideLayouts/slideLayout976.xml"/><Relationship Id="rId309" Type="http://schemas.openxmlformats.org/officeDocument/2006/relationships/slideLayout" Target="../slideLayouts/slideLayout990.xml"/><Relationship Id="rId460" Type="http://schemas.openxmlformats.org/officeDocument/2006/relationships/slideLayout" Target="../slideLayouts/slideLayout1141.xml"/><Relationship Id="rId516" Type="http://schemas.openxmlformats.org/officeDocument/2006/relationships/slideLayout" Target="../slideLayouts/slideLayout1197.xml"/><Relationship Id="rId48" Type="http://schemas.openxmlformats.org/officeDocument/2006/relationships/slideLayout" Target="../slideLayouts/slideLayout729.xml"/><Relationship Id="rId113" Type="http://schemas.openxmlformats.org/officeDocument/2006/relationships/slideLayout" Target="../slideLayouts/slideLayout794.xml"/><Relationship Id="rId320" Type="http://schemas.openxmlformats.org/officeDocument/2006/relationships/slideLayout" Target="../slideLayouts/slideLayout1001.xml"/><Relationship Id="rId558" Type="http://schemas.openxmlformats.org/officeDocument/2006/relationships/slideLayout" Target="../slideLayouts/slideLayout1239.xml"/><Relationship Id="rId155" Type="http://schemas.openxmlformats.org/officeDocument/2006/relationships/slideLayout" Target="../slideLayouts/slideLayout836.xml"/><Relationship Id="rId197" Type="http://schemas.openxmlformats.org/officeDocument/2006/relationships/slideLayout" Target="../slideLayouts/slideLayout878.xml"/><Relationship Id="rId362" Type="http://schemas.openxmlformats.org/officeDocument/2006/relationships/slideLayout" Target="../slideLayouts/slideLayout1043.xml"/><Relationship Id="rId418" Type="http://schemas.openxmlformats.org/officeDocument/2006/relationships/slideLayout" Target="../slideLayouts/slideLayout1099.xml"/><Relationship Id="rId625" Type="http://schemas.openxmlformats.org/officeDocument/2006/relationships/slideLayout" Target="../slideLayouts/slideLayout1306.xml"/><Relationship Id="rId222" Type="http://schemas.openxmlformats.org/officeDocument/2006/relationships/slideLayout" Target="../slideLayouts/slideLayout903.xml"/><Relationship Id="rId264" Type="http://schemas.openxmlformats.org/officeDocument/2006/relationships/slideLayout" Target="../slideLayouts/slideLayout945.xml"/><Relationship Id="rId471" Type="http://schemas.openxmlformats.org/officeDocument/2006/relationships/slideLayout" Target="../slideLayouts/slideLayout1152.xml"/><Relationship Id="rId667" Type="http://schemas.openxmlformats.org/officeDocument/2006/relationships/slideLayout" Target="../slideLayouts/slideLayout1348.xml"/><Relationship Id="rId17" Type="http://schemas.openxmlformats.org/officeDocument/2006/relationships/slideLayout" Target="../slideLayouts/slideLayout698.xml"/><Relationship Id="rId59" Type="http://schemas.openxmlformats.org/officeDocument/2006/relationships/slideLayout" Target="../slideLayouts/slideLayout740.xml"/><Relationship Id="rId124" Type="http://schemas.openxmlformats.org/officeDocument/2006/relationships/slideLayout" Target="../slideLayouts/slideLayout805.xml"/><Relationship Id="rId527" Type="http://schemas.openxmlformats.org/officeDocument/2006/relationships/slideLayout" Target="../slideLayouts/slideLayout1208.xml"/><Relationship Id="rId569" Type="http://schemas.openxmlformats.org/officeDocument/2006/relationships/slideLayout" Target="../slideLayouts/slideLayout1250.xml"/><Relationship Id="rId70" Type="http://schemas.openxmlformats.org/officeDocument/2006/relationships/slideLayout" Target="../slideLayouts/slideLayout751.xml"/><Relationship Id="rId166" Type="http://schemas.openxmlformats.org/officeDocument/2006/relationships/slideLayout" Target="../slideLayouts/slideLayout847.xml"/><Relationship Id="rId331" Type="http://schemas.openxmlformats.org/officeDocument/2006/relationships/slideLayout" Target="../slideLayouts/slideLayout1012.xml"/><Relationship Id="rId373" Type="http://schemas.openxmlformats.org/officeDocument/2006/relationships/slideLayout" Target="../slideLayouts/slideLayout1054.xml"/><Relationship Id="rId429" Type="http://schemas.openxmlformats.org/officeDocument/2006/relationships/slideLayout" Target="../slideLayouts/slideLayout1110.xml"/><Relationship Id="rId580" Type="http://schemas.openxmlformats.org/officeDocument/2006/relationships/slideLayout" Target="../slideLayouts/slideLayout1261.xml"/><Relationship Id="rId636" Type="http://schemas.openxmlformats.org/officeDocument/2006/relationships/slideLayout" Target="../slideLayouts/slideLayout1317.xml"/><Relationship Id="rId1" Type="http://schemas.openxmlformats.org/officeDocument/2006/relationships/slideLayout" Target="../slideLayouts/slideLayout682.xml"/><Relationship Id="rId233" Type="http://schemas.openxmlformats.org/officeDocument/2006/relationships/slideLayout" Target="../slideLayouts/slideLayout914.xml"/><Relationship Id="rId440" Type="http://schemas.openxmlformats.org/officeDocument/2006/relationships/slideLayout" Target="../slideLayouts/slideLayout1121.xml"/><Relationship Id="rId678" Type="http://schemas.openxmlformats.org/officeDocument/2006/relationships/slideLayout" Target="../slideLayouts/slideLayout1359.xml"/><Relationship Id="rId28" Type="http://schemas.openxmlformats.org/officeDocument/2006/relationships/slideLayout" Target="../slideLayouts/slideLayout709.xml"/><Relationship Id="rId275" Type="http://schemas.openxmlformats.org/officeDocument/2006/relationships/slideLayout" Target="../slideLayouts/slideLayout956.xml"/><Relationship Id="rId300" Type="http://schemas.openxmlformats.org/officeDocument/2006/relationships/slideLayout" Target="../slideLayouts/slideLayout981.xml"/><Relationship Id="rId482" Type="http://schemas.openxmlformats.org/officeDocument/2006/relationships/slideLayout" Target="../slideLayouts/slideLayout1163.xml"/><Relationship Id="rId538" Type="http://schemas.openxmlformats.org/officeDocument/2006/relationships/slideLayout" Target="../slideLayouts/slideLayout1219.xml"/><Relationship Id="rId81" Type="http://schemas.openxmlformats.org/officeDocument/2006/relationships/slideLayout" Target="../slideLayouts/slideLayout762.xml"/><Relationship Id="rId135" Type="http://schemas.openxmlformats.org/officeDocument/2006/relationships/slideLayout" Target="../slideLayouts/slideLayout816.xml"/><Relationship Id="rId177" Type="http://schemas.openxmlformats.org/officeDocument/2006/relationships/slideLayout" Target="../slideLayouts/slideLayout858.xml"/><Relationship Id="rId342" Type="http://schemas.openxmlformats.org/officeDocument/2006/relationships/slideLayout" Target="../slideLayouts/slideLayout1023.xml"/><Relationship Id="rId384" Type="http://schemas.openxmlformats.org/officeDocument/2006/relationships/slideLayout" Target="../slideLayouts/slideLayout1065.xml"/><Relationship Id="rId591" Type="http://schemas.openxmlformats.org/officeDocument/2006/relationships/slideLayout" Target="../slideLayouts/slideLayout1272.xml"/><Relationship Id="rId605" Type="http://schemas.openxmlformats.org/officeDocument/2006/relationships/slideLayout" Target="../slideLayouts/slideLayout1286.xml"/><Relationship Id="rId202" Type="http://schemas.openxmlformats.org/officeDocument/2006/relationships/slideLayout" Target="../slideLayouts/slideLayout883.xml"/><Relationship Id="rId244" Type="http://schemas.openxmlformats.org/officeDocument/2006/relationships/slideLayout" Target="../slideLayouts/slideLayout925.xml"/><Relationship Id="rId647" Type="http://schemas.openxmlformats.org/officeDocument/2006/relationships/slideLayout" Target="../slideLayouts/slideLayout1328.xml"/><Relationship Id="rId39" Type="http://schemas.openxmlformats.org/officeDocument/2006/relationships/slideLayout" Target="../slideLayouts/slideLayout720.xml"/><Relationship Id="rId286" Type="http://schemas.openxmlformats.org/officeDocument/2006/relationships/slideLayout" Target="../slideLayouts/slideLayout967.xml"/><Relationship Id="rId451" Type="http://schemas.openxmlformats.org/officeDocument/2006/relationships/slideLayout" Target="../slideLayouts/slideLayout1132.xml"/><Relationship Id="rId493" Type="http://schemas.openxmlformats.org/officeDocument/2006/relationships/slideLayout" Target="../slideLayouts/slideLayout1174.xml"/><Relationship Id="rId507" Type="http://schemas.openxmlformats.org/officeDocument/2006/relationships/slideLayout" Target="../slideLayouts/slideLayout1188.xml"/><Relationship Id="rId549" Type="http://schemas.openxmlformats.org/officeDocument/2006/relationships/slideLayout" Target="../slideLayouts/slideLayout1230.xml"/><Relationship Id="rId50" Type="http://schemas.openxmlformats.org/officeDocument/2006/relationships/slideLayout" Target="../slideLayouts/slideLayout731.xml"/><Relationship Id="rId104" Type="http://schemas.openxmlformats.org/officeDocument/2006/relationships/slideLayout" Target="../slideLayouts/slideLayout785.xml"/><Relationship Id="rId146" Type="http://schemas.openxmlformats.org/officeDocument/2006/relationships/slideLayout" Target="../slideLayouts/slideLayout827.xml"/><Relationship Id="rId188" Type="http://schemas.openxmlformats.org/officeDocument/2006/relationships/slideLayout" Target="../slideLayouts/slideLayout869.xml"/><Relationship Id="rId311" Type="http://schemas.openxmlformats.org/officeDocument/2006/relationships/slideLayout" Target="../slideLayouts/slideLayout992.xml"/><Relationship Id="rId353" Type="http://schemas.openxmlformats.org/officeDocument/2006/relationships/slideLayout" Target="../slideLayouts/slideLayout1034.xml"/><Relationship Id="rId395" Type="http://schemas.openxmlformats.org/officeDocument/2006/relationships/slideLayout" Target="../slideLayouts/slideLayout1076.xml"/><Relationship Id="rId409" Type="http://schemas.openxmlformats.org/officeDocument/2006/relationships/slideLayout" Target="../slideLayouts/slideLayout1090.xml"/><Relationship Id="rId560" Type="http://schemas.openxmlformats.org/officeDocument/2006/relationships/slideLayout" Target="../slideLayouts/slideLayout1241.xml"/><Relationship Id="rId92" Type="http://schemas.openxmlformats.org/officeDocument/2006/relationships/slideLayout" Target="../slideLayouts/slideLayout773.xml"/><Relationship Id="rId213" Type="http://schemas.openxmlformats.org/officeDocument/2006/relationships/slideLayout" Target="../slideLayouts/slideLayout894.xml"/><Relationship Id="rId420" Type="http://schemas.openxmlformats.org/officeDocument/2006/relationships/slideLayout" Target="../slideLayouts/slideLayout1101.xml"/><Relationship Id="rId616" Type="http://schemas.openxmlformats.org/officeDocument/2006/relationships/slideLayout" Target="../slideLayouts/slideLayout1297.xml"/><Relationship Id="rId658" Type="http://schemas.openxmlformats.org/officeDocument/2006/relationships/slideLayout" Target="../slideLayouts/slideLayout1339.xml"/><Relationship Id="rId255" Type="http://schemas.openxmlformats.org/officeDocument/2006/relationships/slideLayout" Target="../slideLayouts/slideLayout936.xml"/><Relationship Id="rId297" Type="http://schemas.openxmlformats.org/officeDocument/2006/relationships/slideLayout" Target="../slideLayouts/slideLayout978.xml"/><Relationship Id="rId462" Type="http://schemas.openxmlformats.org/officeDocument/2006/relationships/slideLayout" Target="../slideLayouts/slideLayout1143.xml"/><Relationship Id="rId518" Type="http://schemas.openxmlformats.org/officeDocument/2006/relationships/slideLayout" Target="../slideLayouts/slideLayout1199.xml"/><Relationship Id="rId115" Type="http://schemas.openxmlformats.org/officeDocument/2006/relationships/slideLayout" Target="../slideLayouts/slideLayout796.xml"/><Relationship Id="rId157" Type="http://schemas.openxmlformats.org/officeDocument/2006/relationships/slideLayout" Target="../slideLayouts/slideLayout838.xml"/><Relationship Id="rId322" Type="http://schemas.openxmlformats.org/officeDocument/2006/relationships/slideLayout" Target="../slideLayouts/slideLayout1003.xml"/><Relationship Id="rId364" Type="http://schemas.openxmlformats.org/officeDocument/2006/relationships/slideLayout" Target="../slideLayouts/slideLayout1045.xml"/><Relationship Id="rId61" Type="http://schemas.openxmlformats.org/officeDocument/2006/relationships/slideLayout" Target="../slideLayouts/slideLayout742.xml"/><Relationship Id="rId199" Type="http://schemas.openxmlformats.org/officeDocument/2006/relationships/slideLayout" Target="../slideLayouts/slideLayout880.xml"/><Relationship Id="rId571" Type="http://schemas.openxmlformats.org/officeDocument/2006/relationships/slideLayout" Target="../slideLayouts/slideLayout1252.xml"/><Relationship Id="rId627" Type="http://schemas.openxmlformats.org/officeDocument/2006/relationships/slideLayout" Target="../slideLayouts/slideLayout1308.xml"/><Relationship Id="rId669" Type="http://schemas.openxmlformats.org/officeDocument/2006/relationships/slideLayout" Target="../slideLayouts/slideLayout1350.xml"/><Relationship Id="rId19" Type="http://schemas.openxmlformats.org/officeDocument/2006/relationships/slideLayout" Target="../slideLayouts/slideLayout700.xml"/><Relationship Id="rId224" Type="http://schemas.openxmlformats.org/officeDocument/2006/relationships/slideLayout" Target="../slideLayouts/slideLayout905.xml"/><Relationship Id="rId266" Type="http://schemas.openxmlformats.org/officeDocument/2006/relationships/slideLayout" Target="../slideLayouts/slideLayout947.xml"/><Relationship Id="rId431" Type="http://schemas.openxmlformats.org/officeDocument/2006/relationships/slideLayout" Target="../slideLayouts/slideLayout1112.xml"/><Relationship Id="rId473" Type="http://schemas.openxmlformats.org/officeDocument/2006/relationships/slideLayout" Target="../slideLayouts/slideLayout1154.xml"/><Relationship Id="rId529" Type="http://schemas.openxmlformats.org/officeDocument/2006/relationships/slideLayout" Target="../slideLayouts/slideLayout1210.xml"/><Relationship Id="rId680" Type="http://schemas.openxmlformats.org/officeDocument/2006/relationships/slideLayout" Target="../slideLayouts/slideLayout1361.xml"/><Relationship Id="rId30" Type="http://schemas.openxmlformats.org/officeDocument/2006/relationships/slideLayout" Target="../slideLayouts/slideLayout711.xml"/><Relationship Id="rId126" Type="http://schemas.openxmlformats.org/officeDocument/2006/relationships/slideLayout" Target="../slideLayouts/slideLayout807.xml"/><Relationship Id="rId168" Type="http://schemas.openxmlformats.org/officeDocument/2006/relationships/slideLayout" Target="../slideLayouts/slideLayout849.xml"/><Relationship Id="rId333" Type="http://schemas.openxmlformats.org/officeDocument/2006/relationships/slideLayout" Target="../slideLayouts/slideLayout1014.xml"/><Relationship Id="rId540" Type="http://schemas.openxmlformats.org/officeDocument/2006/relationships/slideLayout" Target="../slideLayouts/slideLayout1221.xml"/><Relationship Id="rId72" Type="http://schemas.openxmlformats.org/officeDocument/2006/relationships/slideLayout" Target="../slideLayouts/slideLayout753.xml"/><Relationship Id="rId375" Type="http://schemas.openxmlformats.org/officeDocument/2006/relationships/slideLayout" Target="../slideLayouts/slideLayout1056.xml"/><Relationship Id="rId582" Type="http://schemas.openxmlformats.org/officeDocument/2006/relationships/slideLayout" Target="../slideLayouts/slideLayout1263.xml"/><Relationship Id="rId638" Type="http://schemas.openxmlformats.org/officeDocument/2006/relationships/slideLayout" Target="../slideLayouts/slideLayout1319.xml"/><Relationship Id="rId3" Type="http://schemas.openxmlformats.org/officeDocument/2006/relationships/slideLayout" Target="../slideLayouts/slideLayout684.xml"/><Relationship Id="rId235" Type="http://schemas.openxmlformats.org/officeDocument/2006/relationships/slideLayout" Target="../slideLayouts/slideLayout916.xml"/><Relationship Id="rId277" Type="http://schemas.openxmlformats.org/officeDocument/2006/relationships/slideLayout" Target="../slideLayouts/slideLayout958.xml"/><Relationship Id="rId400" Type="http://schemas.openxmlformats.org/officeDocument/2006/relationships/slideLayout" Target="../slideLayouts/slideLayout1081.xml"/><Relationship Id="rId442" Type="http://schemas.openxmlformats.org/officeDocument/2006/relationships/slideLayout" Target="../slideLayouts/slideLayout1123.xml"/><Relationship Id="rId484" Type="http://schemas.openxmlformats.org/officeDocument/2006/relationships/slideLayout" Target="../slideLayouts/slideLayout1165.xml"/><Relationship Id="rId137" Type="http://schemas.openxmlformats.org/officeDocument/2006/relationships/slideLayout" Target="../slideLayouts/slideLayout818.xml"/><Relationship Id="rId302" Type="http://schemas.openxmlformats.org/officeDocument/2006/relationships/slideLayout" Target="../slideLayouts/slideLayout983.xml"/><Relationship Id="rId344" Type="http://schemas.openxmlformats.org/officeDocument/2006/relationships/slideLayout" Target="../slideLayouts/slideLayout1025.xml"/><Relationship Id="rId41" Type="http://schemas.openxmlformats.org/officeDocument/2006/relationships/slideLayout" Target="../slideLayouts/slideLayout722.xml"/><Relationship Id="rId83" Type="http://schemas.openxmlformats.org/officeDocument/2006/relationships/slideLayout" Target="../slideLayouts/slideLayout764.xml"/><Relationship Id="rId179" Type="http://schemas.openxmlformats.org/officeDocument/2006/relationships/slideLayout" Target="../slideLayouts/slideLayout860.xml"/><Relationship Id="rId386" Type="http://schemas.openxmlformats.org/officeDocument/2006/relationships/slideLayout" Target="../slideLayouts/slideLayout1067.xml"/><Relationship Id="rId551" Type="http://schemas.openxmlformats.org/officeDocument/2006/relationships/slideLayout" Target="../slideLayouts/slideLayout1232.xml"/><Relationship Id="rId593" Type="http://schemas.openxmlformats.org/officeDocument/2006/relationships/slideLayout" Target="../slideLayouts/slideLayout1274.xml"/><Relationship Id="rId607" Type="http://schemas.openxmlformats.org/officeDocument/2006/relationships/slideLayout" Target="../slideLayouts/slideLayout1288.xml"/><Relationship Id="rId649" Type="http://schemas.openxmlformats.org/officeDocument/2006/relationships/slideLayout" Target="../slideLayouts/slideLayout1330.xml"/><Relationship Id="rId190" Type="http://schemas.openxmlformats.org/officeDocument/2006/relationships/slideLayout" Target="../slideLayouts/slideLayout871.xml"/><Relationship Id="rId204" Type="http://schemas.openxmlformats.org/officeDocument/2006/relationships/slideLayout" Target="../slideLayouts/slideLayout885.xml"/><Relationship Id="rId246" Type="http://schemas.openxmlformats.org/officeDocument/2006/relationships/slideLayout" Target="../slideLayouts/slideLayout927.xml"/><Relationship Id="rId288" Type="http://schemas.openxmlformats.org/officeDocument/2006/relationships/slideLayout" Target="../slideLayouts/slideLayout969.xml"/><Relationship Id="rId411" Type="http://schemas.openxmlformats.org/officeDocument/2006/relationships/slideLayout" Target="../slideLayouts/slideLayout1092.xml"/><Relationship Id="rId453" Type="http://schemas.openxmlformats.org/officeDocument/2006/relationships/slideLayout" Target="../slideLayouts/slideLayout1134.xml"/><Relationship Id="rId509" Type="http://schemas.openxmlformats.org/officeDocument/2006/relationships/slideLayout" Target="../slideLayouts/slideLayout1190.xml"/><Relationship Id="rId660" Type="http://schemas.openxmlformats.org/officeDocument/2006/relationships/slideLayout" Target="../slideLayouts/slideLayout1341.xml"/><Relationship Id="rId106" Type="http://schemas.openxmlformats.org/officeDocument/2006/relationships/slideLayout" Target="../slideLayouts/slideLayout787.xml"/><Relationship Id="rId313" Type="http://schemas.openxmlformats.org/officeDocument/2006/relationships/slideLayout" Target="../slideLayouts/slideLayout994.xml"/><Relationship Id="rId495" Type="http://schemas.openxmlformats.org/officeDocument/2006/relationships/slideLayout" Target="../slideLayouts/slideLayout1176.xml"/><Relationship Id="rId10" Type="http://schemas.openxmlformats.org/officeDocument/2006/relationships/slideLayout" Target="../slideLayouts/slideLayout691.xml"/><Relationship Id="rId52" Type="http://schemas.openxmlformats.org/officeDocument/2006/relationships/slideLayout" Target="../slideLayouts/slideLayout733.xml"/><Relationship Id="rId94" Type="http://schemas.openxmlformats.org/officeDocument/2006/relationships/slideLayout" Target="../slideLayouts/slideLayout775.xml"/><Relationship Id="rId148" Type="http://schemas.openxmlformats.org/officeDocument/2006/relationships/slideLayout" Target="../slideLayouts/slideLayout829.xml"/><Relationship Id="rId355" Type="http://schemas.openxmlformats.org/officeDocument/2006/relationships/slideLayout" Target="../slideLayouts/slideLayout1036.xml"/><Relationship Id="rId397" Type="http://schemas.openxmlformats.org/officeDocument/2006/relationships/slideLayout" Target="../slideLayouts/slideLayout1078.xml"/><Relationship Id="rId520" Type="http://schemas.openxmlformats.org/officeDocument/2006/relationships/slideLayout" Target="../slideLayouts/slideLayout1201.xml"/><Relationship Id="rId562" Type="http://schemas.openxmlformats.org/officeDocument/2006/relationships/slideLayout" Target="../slideLayouts/slideLayout1243.xml"/><Relationship Id="rId618" Type="http://schemas.openxmlformats.org/officeDocument/2006/relationships/slideLayout" Target="../slideLayouts/slideLayout1299.xml"/><Relationship Id="rId215" Type="http://schemas.openxmlformats.org/officeDocument/2006/relationships/slideLayout" Target="../slideLayouts/slideLayout896.xml"/><Relationship Id="rId257" Type="http://schemas.openxmlformats.org/officeDocument/2006/relationships/slideLayout" Target="../slideLayouts/slideLayout938.xml"/><Relationship Id="rId422" Type="http://schemas.openxmlformats.org/officeDocument/2006/relationships/slideLayout" Target="../slideLayouts/slideLayout1103.xml"/><Relationship Id="rId464" Type="http://schemas.openxmlformats.org/officeDocument/2006/relationships/slideLayout" Target="../slideLayouts/slideLayout1145.xml"/><Relationship Id="rId299" Type="http://schemas.openxmlformats.org/officeDocument/2006/relationships/slideLayout" Target="../slideLayouts/slideLayout980.xml"/><Relationship Id="rId63" Type="http://schemas.openxmlformats.org/officeDocument/2006/relationships/slideLayout" Target="../slideLayouts/slideLayout744.xml"/><Relationship Id="rId159" Type="http://schemas.openxmlformats.org/officeDocument/2006/relationships/slideLayout" Target="../slideLayouts/slideLayout840.xml"/><Relationship Id="rId366" Type="http://schemas.openxmlformats.org/officeDocument/2006/relationships/slideLayout" Target="../slideLayouts/slideLayout1047.xml"/><Relationship Id="rId573" Type="http://schemas.openxmlformats.org/officeDocument/2006/relationships/slideLayout" Target="../slideLayouts/slideLayout1254.xml"/><Relationship Id="rId226" Type="http://schemas.openxmlformats.org/officeDocument/2006/relationships/slideLayout" Target="../slideLayouts/slideLayout907.xml"/><Relationship Id="rId433" Type="http://schemas.openxmlformats.org/officeDocument/2006/relationships/slideLayout" Target="../slideLayouts/slideLayout1114.xml"/><Relationship Id="rId640" Type="http://schemas.openxmlformats.org/officeDocument/2006/relationships/slideLayout" Target="../slideLayouts/slideLayout1321.xml"/><Relationship Id="rId74" Type="http://schemas.openxmlformats.org/officeDocument/2006/relationships/slideLayout" Target="../slideLayouts/slideLayout755.xml"/><Relationship Id="rId377" Type="http://schemas.openxmlformats.org/officeDocument/2006/relationships/slideLayout" Target="../slideLayouts/slideLayout1058.xml"/><Relationship Id="rId500" Type="http://schemas.openxmlformats.org/officeDocument/2006/relationships/slideLayout" Target="../slideLayouts/slideLayout1181.xml"/><Relationship Id="rId584" Type="http://schemas.openxmlformats.org/officeDocument/2006/relationships/slideLayout" Target="../slideLayouts/slideLayout1265.xml"/><Relationship Id="rId5" Type="http://schemas.openxmlformats.org/officeDocument/2006/relationships/slideLayout" Target="../slideLayouts/slideLayout686.xml"/><Relationship Id="rId237" Type="http://schemas.openxmlformats.org/officeDocument/2006/relationships/slideLayout" Target="../slideLayouts/slideLayout918.xml"/><Relationship Id="rId444" Type="http://schemas.openxmlformats.org/officeDocument/2006/relationships/slideLayout" Target="../slideLayouts/slideLayout1125.xml"/><Relationship Id="rId651" Type="http://schemas.openxmlformats.org/officeDocument/2006/relationships/slideLayout" Target="../slideLayouts/slideLayout1332.xml"/><Relationship Id="rId290" Type="http://schemas.openxmlformats.org/officeDocument/2006/relationships/slideLayout" Target="../slideLayouts/slideLayout971.xml"/><Relationship Id="rId304" Type="http://schemas.openxmlformats.org/officeDocument/2006/relationships/slideLayout" Target="../slideLayouts/slideLayout985.xml"/><Relationship Id="rId388" Type="http://schemas.openxmlformats.org/officeDocument/2006/relationships/slideLayout" Target="../slideLayouts/slideLayout1069.xml"/><Relationship Id="rId511" Type="http://schemas.openxmlformats.org/officeDocument/2006/relationships/slideLayout" Target="../slideLayouts/slideLayout1192.xml"/><Relationship Id="rId609" Type="http://schemas.openxmlformats.org/officeDocument/2006/relationships/slideLayout" Target="../slideLayouts/slideLayout1290.xml"/><Relationship Id="rId85" Type="http://schemas.openxmlformats.org/officeDocument/2006/relationships/slideLayout" Target="../slideLayouts/slideLayout766.xml"/><Relationship Id="rId150" Type="http://schemas.openxmlformats.org/officeDocument/2006/relationships/slideLayout" Target="../slideLayouts/slideLayout831.xml"/><Relationship Id="rId595" Type="http://schemas.openxmlformats.org/officeDocument/2006/relationships/slideLayout" Target="../slideLayouts/slideLayout1276.xml"/><Relationship Id="rId248" Type="http://schemas.openxmlformats.org/officeDocument/2006/relationships/slideLayout" Target="../slideLayouts/slideLayout929.xml"/><Relationship Id="rId455" Type="http://schemas.openxmlformats.org/officeDocument/2006/relationships/slideLayout" Target="../slideLayouts/slideLayout1136.xml"/><Relationship Id="rId662" Type="http://schemas.openxmlformats.org/officeDocument/2006/relationships/slideLayout" Target="../slideLayouts/slideLayout1343.xml"/><Relationship Id="rId12" Type="http://schemas.openxmlformats.org/officeDocument/2006/relationships/slideLayout" Target="../slideLayouts/slideLayout693.xml"/><Relationship Id="rId108" Type="http://schemas.openxmlformats.org/officeDocument/2006/relationships/slideLayout" Target="../slideLayouts/slideLayout789.xml"/><Relationship Id="rId315" Type="http://schemas.openxmlformats.org/officeDocument/2006/relationships/slideLayout" Target="../slideLayouts/slideLayout996.xml"/><Relationship Id="rId522" Type="http://schemas.openxmlformats.org/officeDocument/2006/relationships/slideLayout" Target="../slideLayouts/slideLayout1203.xml"/><Relationship Id="rId96" Type="http://schemas.openxmlformats.org/officeDocument/2006/relationships/slideLayout" Target="../slideLayouts/slideLayout777.xml"/><Relationship Id="rId161" Type="http://schemas.openxmlformats.org/officeDocument/2006/relationships/slideLayout" Target="../slideLayouts/slideLayout842.xml"/><Relationship Id="rId399" Type="http://schemas.openxmlformats.org/officeDocument/2006/relationships/slideLayout" Target="../slideLayouts/slideLayout1080.xml"/><Relationship Id="rId259" Type="http://schemas.openxmlformats.org/officeDocument/2006/relationships/slideLayout" Target="../slideLayouts/slideLayout940.xml"/><Relationship Id="rId466" Type="http://schemas.openxmlformats.org/officeDocument/2006/relationships/slideLayout" Target="../slideLayouts/slideLayout1147.xml"/><Relationship Id="rId673" Type="http://schemas.openxmlformats.org/officeDocument/2006/relationships/slideLayout" Target="../slideLayouts/slideLayout1354.xml"/><Relationship Id="rId23" Type="http://schemas.openxmlformats.org/officeDocument/2006/relationships/slideLayout" Target="../slideLayouts/slideLayout704.xml"/><Relationship Id="rId119" Type="http://schemas.openxmlformats.org/officeDocument/2006/relationships/slideLayout" Target="../slideLayouts/slideLayout800.xml"/><Relationship Id="rId326" Type="http://schemas.openxmlformats.org/officeDocument/2006/relationships/slideLayout" Target="../slideLayouts/slideLayout1007.xml"/><Relationship Id="rId533" Type="http://schemas.openxmlformats.org/officeDocument/2006/relationships/slideLayout" Target="../slideLayouts/slideLayout1214.xml"/><Relationship Id="rId172" Type="http://schemas.openxmlformats.org/officeDocument/2006/relationships/slideLayout" Target="../slideLayouts/slideLayout853.xml"/><Relationship Id="rId477" Type="http://schemas.openxmlformats.org/officeDocument/2006/relationships/slideLayout" Target="../slideLayouts/slideLayout1158.xml"/><Relationship Id="rId600" Type="http://schemas.openxmlformats.org/officeDocument/2006/relationships/slideLayout" Target="../slideLayouts/slideLayout1281.xml"/><Relationship Id="rId684" Type="http://schemas.openxmlformats.org/officeDocument/2006/relationships/slideLayout" Target="../slideLayouts/slideLayout1365.xml"/><Relationship Id="rId337" Type="http://schemas.openxmlformats.org/officeDocument/2006/relationships/slideLayout" Target="../slideLayouts/slideLayout1018.xml"/><Relationship Id="rId34" Type="http://schemas.openxmlformats.org/officeDocument/2006/relationships/slideLayout" Target="../slideLayouts/slideLayout715.xml"/><Relationship Id="rId544" Type="http://schemas.openxmlformats.org/officeDocument/2006/relationships/slideLayout" Target="../slideLayouts/slideLayout1225.xml"/><Relationship Id="rId183" Type="http://schemas.openxmlformats.org/officeDocument/2006/relationships/slideLayout" Target="../slideLayouts/slideLayout864.xml"/><Relationship Id="rId390" Type="http://schemas.openxmlformats.org/officeDocument/2006/relationships/slideLayout" Target="../slideLayouts/slideLayout1071.xml"/><Relationship Id="rId404" Type="http://schemas.openxmlformats.org/officeDocument/2006/relationships/slideLayout" Target="../slideLayouts/slideLayout1085.xml"/><Relationship Id="rId611" Type="http://schemas.openxmlformats.org/officeDocument/2006/relationships/slideLayout" Target="../slideLayouts/slideLayout1292.xml"/><Relationship Id="rId250" Type="http://schemas.openxmlformats.org/officeDocument/2006/relationships/slideLayout" Target="../slideLayouts/slideLayout931.xml"/><Relationship Id="rId488" Type="http://schemas.openxmlformats.org/officeDocument/2006/relationships/slideLayout" Target="../slideLayouts/slideLayout1169.xml"/><Relationship Id="rId45" Type="http://schemas.openxmlformats.org/officeDocument/2006/relationships/slideLayout" Target="../slideLayouts/slideLayout726.xml"/><Relationship Id="rId110" Type="http://schemas.openxmlformats.org/officeDocument/2006/relationships/slideLayout" Target="../slideLayouts/slideLayout791.xml"/><Relationship Id="rId348" Type="http://schemas.openxmlformats.org/officeDocument/2006/relationships/slideLayout" Target="../slideLayouts/slideLayout1029.xml"/><Relationship Id="rId555" Type="http://schemas.openxmlformats.org/officeDocument/2006/relationships/slideLayout" Target="../slideLayouts/slideLayout1236.xml"/><Relationship Id="rId194" Type="http://schemas.openxmlformats.org/officeDocument/2006/relationships/slideLayout" Target="../slideLayouts/slideLayout875.xml"/><Relationship Id="rId208" Type="http://schemas.openxmlformats.org/officeDocument/2006/relationships/slideLayout" Target="../slideLayouts/slideLayout889.xml"/><Relationship Id="rId415" Type="http://schemas.openxmlformats.org/officeDocument/2006/relationships/slideLayout" Target="../slideLayouts/slideLayout1096.xml"/><Relationship Id="rId622" Type="http://schemas.openxmlformats.org/officeDocument/2006/relationships/slideLayout" Target="../slideLayouts/slideLayout1303.xml"/><Relationship Id="rId261" Type="http://schemas.openxmlformats.org/officeDocument/2006/relationships/slideLayout" Target="../slideLayouts/slideLayout942.xml"/><Relationship Id="rId499" Type="http://schemas.openxmlformats.org/officeDocument/2006/relationships/slideLayout" Target="../slideLayouts/slideLayout1180.xml"/><Relationship Id="rId56" Type="http://schemas.openxmlformats.org/officeDocument/2006/relationships/slideLayout" Target="../slideLayouts/slideLayout737.xml"/><Relationship Id="rId359" Type="http://schemas.openxmlformats.org/officeDocument/2006/relationships/slideLayout" Target="../slideLayouts/slideLayout1040.xml"/><Relationship Id="rId566" Type="http://schemas.openxmlformats.org/officeDocument/2006/relationships/slideLayout" Target="../slideLayouts/slideLayout1247.xml"/><Relationship Id="rId121" Type="http://schemas.openxmlformats.org/officeDocument/2006/relationships/slideLayout" Target="../slideLayouts/slideLayout802.xml"/><Relationship Id="rId219" Type="http://schemas.openxmlformats.org/officeDocument/2006/relationships/slideLayout" Target="../slideLayouts/slideLayout900.xml"/><Relationship Id="rId426" Type="http://schemas.openxmlformats.org/officeDocument/2006/relationships/slideLayout" Target="../slideLayouts/slideLayout1107.xml"/><Relationship Id="rId633" Type="http://schemas.openxmlformats.org/officeDocument/2006/relationships/slideLayout" Target="../slideLayouts/slideLayout1314.xml"/><Relationship Id="rId67" Type="http://schemas.openxmlformats.org/officeDocument/2006/relationships/slideLayout" Target="../slideLayouts/slideLayout748.xml"/><Relationship Id="rId272" Type="http://schemas.openxmlformats.org/officeDocument/2006/relationships/slideLayout" Target="../slideLayouts/slideLayout953.xml"/><Relationship Id="rId577" Type="http://schemas.openxmlformats.org/officeDocument/2006/relationships/slideLayout" Target="../slideLayouts/slideLayout1258.xml"/><Relationship Id="rId132" Type="http://schemas.openxmlformats.org/officeDocument/2006/relationships/slideLayout" Target="../slideLayouts/slideLayout813.xml"/><Relationship Id="rId437" Type="http://schemas.openxmlformats.org/officeDocument/2006/relationships/slideLayout" Target="../slideLayouts/slideLayout1118.xml"/><Relationship Id="rId644" Type="http://schemas.openxmlformats.org/officeDocument/2006/relationships/slideLayout" Target="../slideLayouts/slideLayout1325.xml"/><Relationship Id="rId283" Type="http://schemas.openxmlformats.org/officeDocument/2006/relationships/slideLayout" Target="../slideLayouts/slideLayout964.xml"/><Relationship Id="rId490" Type="http://schemas.openxmlformats.org/officeDocument/2006/relationships/slideLayout" Target="../slideLayouts/slideLayout1171.xml"/><Relationship Id="rId504" Type="http://schemas.openxmlformats.org/officeDocument/2006/relationships/slideLayout" Target="../slideLayouts/slideLayout1185.xml"/><Relationship Id="rId78" Type="http://schemas.openxmlformats.org/officeDocument/2006/relationships/slideLayout" Target="../slideLayouts/slideLayout759.xml"/><Relationship Id="rId143" Type="http://schemas.openxmlformats.org/officeDocument/2006/relationships/slideLayout" Target="../slideLayouts/slideLayout824.xml"/><Relationship Id="rId350" Type="http://schemas.openxmlformats.org/officeDocument/2006/relationships/slideLayout" Target="../slideLayouts/slideLayout1031.xml"/><Relationship Id="rId588" Type="http://schemas.openxmlformats.org/officeDocument/2006/relationships/slideLayout" Target="../slideLayouts/slideLayout1269.xml"/><Relationship Id="rId9" Type="http://schemas.openxmlformats.org/officeDocument/2006/relationships/slideLayout" Target="../slideLayouts/slideLayout690.xml"/><Relationship Id="rId210" Type="http://schemas.openxmlformats.org/officeDocument/2006/relationships/slideLayout" Target="../slideLayouts/slideLayout891.xml"/><Relationship Id="rId448" Type="http://schemas.openxmlformats.org/officeDocument/2006/relationships/slideLayout" Target="../slideLayouts/slideLayout1129.xml"/><Relationship Id="rId655" Type="http://schemas.openxmlformats.org/officeDocument/2006/relationships/slideLayout" Target="../slideLayouts/slideLayout1336.xml"/><Relationship Id="rId294" Type="http://schemas.openxmlformats.org/officeDocument/2006/relationships/slideLayout" Target="../slideLayouts/slideLayout975.xml"/><Relationship Id="rId308" Type="http://schemas.openxmlformats.org/officeDocument/2006/relationships/slideLayout" Target="../slideLayouts/slideLayout989.xml"/><Relationship Id="rId515" Type="http://schemas.openxmlformats.org/officeDocument/2006/relationships/slideLayout" Target="../slideLayouts/slideLayout1196.xml"/><Relationship Id="rId89" Type="http://schemas.openxmlformats.org/officeDocument/2006/relationships/slideLayout" Target="../slideLayouts/slideLayout770.xml"/><Relationship Id="rId154" Type="http://schemas.openxmlformats.org/officeDocument/2006/relationships/slideLayout" Target="../slideLayouts/slideLayout835.xml"/><Relationship Id="rId361" Type="http://schemas.openxmlformats.org/officeDocument/2006/relationships/slideLayout" Target="../slideLayouts/slideLayout1042.xml"/><Relationship Id="rId599" Type="http://schemas.openxmlformats.org/officeDocument/2006/relationships/slideLayout" Target="../slideLayouts/slideLayout1280.xml"/><Relationship Id="rId459" Type="http://schemas.openxmlformats.org/officeDocument/2006/relationships/slideLayout" Target="../slideLayouts/slideLayout1140.xml"/><Relationship Id="rId666" Type="http://schemas.openxmlformats.org/officeDocument/2006/relationships/slideLayout" Target="../slideLayouts/slideLayout1347.xml"/><Relationship Id="rId16" Type="http://schemas.openxmlformats.org/officeDocument/2006/relationships/slideLayout" Target="../slideLayouts/slideLayout697.xml"/><Relationship Id="rId221" Type="http://schemas.openxmlformats.org/officeDocument/2006/relationships/slideLayout" Target="../slideLayouts/slideLayout902.xml"/><Relationship Id="rId319" Type="http://schemas.openxmlformats.org/officeDocument/2006/relationships/slideLayout" Target="../slideLayouts/slideLayout1000.xml"/><Relationship Id="rId526" Type="http://schemas.openxmlformats.org/officeDocument/2006/relationships/slideLayout" Target="../slideLayouts/slideLayout1207.xml"/><Relationship Id="rId165" Type="http://schemas.openxmlformats.org/officeDocument/2006/relationships/slideLayout" Target="../slideLayouts/slideLayout846.xml"/><Relationship Id="rId372" Type="http://schemas.openxmlformats.org/officeDocument/2006/relationships/slideLayout" Target="../slideLayouts/slideLayout1053.xml"/><Relationship Id="rId677" Type="http://schemas.openxmlformats.org/officeDocument/2006/relationships/slideLayout" Target="../slideLayouts/slideLayout1358.xml"/><Relationship Id="rId232" Type="http://schemas.openxmlformats.org/officeDocument/2006/relationships/slideLayout" Target="../slideLayouts/slideLayout913.xml"/><Relationship Id="rId27" Type="http://schemas.openxmlformats.org/officeDocument/2006/relationships/slideLayout" Target="../slideLayouts/slideLayout708.xml"/><Relationship Id="rId537" Type="http://schemas.openxmlformats.org/officeDocument/2006/relationships/slideLayout" Target="../slideLayouts/slideLayout1218.xml"/><Relationship Id="rId80" Type="http://schemas.openxmlformats.org/officeDocument/2006/relationships/slideLayout" Target="../slideLayouts/slideLayout761.xml"/><Relationship Id="rId176" Type="http://schemas.openxmlformats.org/officeDocument/2006/relationships/slideLayout" Target="../slideLayouts/slideLayout857.xml"/><Relationship Id="rId383" Type="http://schemas.openxmlformats.org/officeDocument/2006/relationships/slideLayout" Target="../slideLayouts/slideLayout1064.xml"/><Relationship Id="rId590" Type="http://schemas.openxmlformats.org/officeDocument/2006/relationships/slideLayout" Target="../slideLayouts/slideLayout1271.xml"/><Relationship Id="rId604" Type="http://schemas.openxmlformats.org/officeDocument/2006/relationships/slideLayout" Target="../slideLayouts/slideLayout1285.xml"/><Relationship Id="rId243" Type="http://schemas.openxmlformats.org/officeDocument/2006/relationships/slideLayout" Target="../slideLayouts/slideLayout924.xml"/><Relationship Id="rId450" Type="http://schemas.openxmlformats.org/officeDocument/2006/relationships/slideLayout" Target="../slideLayouts/slideLayout1131.xml"/><Relationship Id="rId38" Type="http://schemas.openxmlformats.org/officeDocument/2006/relationships/slideLayout" Target="../slideLayouts/slideLayout719.xml"/><Relationship Id="rId103" Type="http://schemas.openxmlformats.org/officeDocument/2006/relationships/slideLayout" Target="../slideLayouts/slideLayout784.xml"/><Relationship Id="rId310" Type="http://schemas.openxmlformats.org/officeDocument/2006/relationships/slideLayout" Target="../slideLayouts/slideLayout991.xml"/><Relationship Id="rId548" Type="http://schemas.openxmlformats.org/officeDocument/2006/relationships/slideLayout" Target="../slideLayouts/slideLayout1229.xml"/><Relationship Id="rId91" Type="http://schemas.openxmlformats.org/officeDocument/2006/relationships/slideLayout" Target="../slideLayouts/slideLayout772.xml"/><Relationship Id="rId187" Type="http://schemas.openxmlformats.org/officeDocument/2006/relationships/slideLayout" Target="../slideLayouts/slideLayout868.xml"/><Relationship Id="rId394" Type="http://schemas.openxmlformats.org/officeDocument/2006/relationships/slideLayout" Target="../slideLayouts/slideLayout1075.xml"/><Relationship Id="rId408" Type="http://schemas.openxmlformats.org/officeDocument/2006/relationships/slideLayout" Target="../slideLayouts/slideLayout1089.xml"/><Relationship Id="rId615" Type="http://schemas.openxmlformats.org/officeDocument/2006/relationships/slideLayout" Target="../slideLayouts/slideLayout12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6" r:id="rId40"/>
    <p:sldLayoutId id="2147487207" r:id="rId41"/>
    <p:sldLayoutId id="2147487208" r:id="rId42"/>
    <p:sldLayoutId id="2147487209" r:id="rId43"/>
    <p:sldLayoutId id="2147487210" r:id="rId44"/>
    <p:sldLayoutId id="2147487211" r:id="rId45"/>
    <p:sldLayoutId id="2147487212" r:id="rId46"/>
    <p:sldLayoutId id="2147487213" r:id="rId47"/>
    <p:sldLayoutId id="2147487214" r:id="rId48"/>
    <p:sldLayoutId id="2147487215" r:id="rId49"/>
    <p:sldLayoutId id="2147487216" r:id="rId50"/>
    <p:sldLayoutId id="2147487217" r:id="rId51"/>
    <p:sldLayoutId id="2147487218" r:id="rId52"/>
    <p:sldLayoutId id="2147487219" r:id="rId53"/>
    <p:sldLayoutId id="2147487220" r:id="rId54"/>
    <p:sldLayoutId id="2147487221" r:id="rId55"/>
    <p:sldLayoutId id="2147487222" r:id="rId56"/>
    <p:sldLayoutId id="2147487223" r:id="rId57"/>
    <p:sldLayoutId id="2147487224" r:id="rId58"/>
    <p:sldLayoutId id="2147487225" r:id="rId59"/>
    <p:sldLayoutId id="2147487226" r:id="rId60"/>
    <p:sldLayoutId id="2147487227" r:id="rId61"/>
    <p:sldLayoutId id="2147487228" r:id="rId62"/>
    <p:sldLayoutId id="2147487229" r:id="rId63"/>
    <p:sldLayoutId id="2147487058" r:id="rId64"/>
    <p:sldLayoutId id="2147487231" r:id="rId65"/>
    <p:sldLayoutId id="2147487232" r:id="rId66"/>
    <p:sldLayoutId id="2147487233" r:id="rId67"/>
    <p:sldLayoutId id="2147487234" r:id="rId68"/>
    <p:sldLayoutId id="2147487235" r:id="rId69"/>
    <p:sldLayoutId id="2147487236" r:id="rId70"/>
    <p:sldLayoutId id="2147487237" r:id="rId71"/>
    <p:sldLayoutId id="2147487059" r:id="rId72"/>
    <p:sldLayoutId id="2147487060" r:id="rId73"/>
    <p:sldLayoutId id="2147487061" r:id="rId74"/>
    <p:sldLayoutId id="2147487062" r:id="rId75"/>
    <p:sldLayoutId id="2147487242" r:id="rId76"/>
    <p:sldLayoutId id="2147487063" r:id="rId77"/>
    <p:sldLayoutId id="2147487244" r:id="rId78"/>
    <p:sldLayoutId id="2147487245" r:id="rId79"/>
    <p:sldLayoutId id="2147487246" r:id="rId80"/>
    <p:sldLayoutId id="2147487064" r:id="rId81"/>
    <p:sldLayoutId id="2147487248" r:id="rId82"/>
    <p:sldLayoutId id="2147487249" r:id="rId83"/>
    <p:sldLayoutId id="2147487250" r:id="rId84"/>
    <p:sldLayoutId id="2147487251" r:id="rId85"/>
    <p:sldLayoutId id="2147487252" r:id="rId86"/>
    <p:sldLayoutId id="2147487253" r:id="rId87"/>
    <p:sldLayoutId id="2147487065" r:id="rId88"/>
    <p:sldLayoutId id="2147487066" r:id="rId89"/>
    <p:sldLayoutId id="2147487067" r:id="rId90"/>
    <p:sldLayoutId id="2147487068" r:id="rId91"/>
    <p:sldLayoutId id="2147487069" r:id="rId92"/>
    <p:sldLayoutId id="2147487070" r:id="rId93"/>
    <p:sldLayoutId id="2147487071" r:id="rId94"/>
    <p:sldLayoutId id="2147487072" r:id="rId95"/>
    <p:sldLayoutId id="2147487073" r:id="rId96"/>
    <p:sldLayoutId id="2147487074" r:id="rId97"/>
    <p:sldLayoutId id="2147487075" r:id="rId98"/>
    <p:sldLayoutId id="2147487155" r:id="rId99"/>
    <p:sldLayoutId id="2147487265" r:id="rId100"/>
    <p:sldLayoutId id="2147487266" r:id="rId101"/>
    <p:sldLayoutId id="2147487076" r:id="rId102"/>
    <p:sldLayoutId id="2147487077" r:id="rId103"/>
    <p:sldLayoutId id="2147487078" r:id="rId104"/>
    <p:sldLayoutId id="2147487270" r:id="rId105"/>
    <p:sldLayoutId id="2147487271" r:id="rId106"/>
    <p:sldLayoutId id="2147487272" r:id="rId107"/>
    <p:sldLayoutId id="2147487273" r:id="rId108"/>
    <p:sldLayoutId id="2147487274" r:id="rId109"/>
    <p:sldLayoutId id="2147487275" r:id="rId110"/>
    <p:sldLayoutId id="2147487276" r:id="rId111"/>
    <p:sldLayoutId id="2147487277" r:id="rId112"/>
    <p:sldLayoutId id="2147487079" r:id="rId113"/>
    <p:sldLayoutId id="2147487080" r:id="rId114"/>
    <p:sldLayoutId id="2147487081" r:id="rId115"/>
    <p:sldLayoutId id="2147487082" r:id="rId116"/>
    <p:sldLayoutId id="2147487083" r:id="rId117"/>
    <p:sldLayoutId id="2147487084" r:id="rId118"/>
    <p:sldLayoutId id="2147487085" r:id="rId119"/>
    <p:sldLayoutId id="2147487086" r:id="rId120"/>
    <p:sldLayoutId id="2147487087" r:id="rId121"/>
    <p:sldLayoutId id="2147487088" r:id="rId122"/>
    <p:sldLayoutId id="2147487089" r:id="rId123"/>
    <p:sldLayoutId id="2147487090" r:id="rId124"/>
    <p:sldLayoutId id="2147487290" r:id="rId125"/>
    <p:sldLayoutId id="2147487291" r:id="rId126"/>
    <p:sldLayoutId id="2147487292" r:id="rId127"/>
    <p:sldLayoutId id="2147487294" r:id="rId128"/>
    <p:sldLayoutId id="2147487295" r:id="rId129"/>
    <p:sldLayoutId id="2147487296" r:id="rId130"/>
    <p:sldLayoutId id="2147487297" r:id="rId131"/>
    <p:sldLayoutId id="2147487298" r:id="rId132"/>
    <p:sldLayoutId id="2147487299" r:id="rId133"/>
    <p:sldLayoutId id="2147487300" r:id="rId134"/>
    <p:sldLayoutId id="2147487301" r:id="rId135"/>
    <p:sldLayoutId id="2147487092" r:id="rId136"/>
    <p:sldLayoutId id="2147487303" r:id="rId137"/>
    <p:sldLayoutId id="2147487304" r:id="rId138"/>
    <p:sldLayoutId id="2147487305" r:id="rId139"/>
    <p:sldLayoutId id="2147487306" r:id="rId140"/>
    <p:sldLayoutId id="2147487307" r:id="rId141"/>
    <p:sldLayoutId id="2147487308" r:id="rId142"/>
    <p:sldLayoutId id="2147487093" r:id="rId143"/>
    <p:sldLayoutId id="2147487310" r:id="rId144"/>
    <p:sldLayoutId id="2147487311" r:id="rId145"/>
    <p:sldLayoutId id="2147487094" r:id="rId146"/>
    <p:sldLayoutId id="2147487095" r:id="rId147"/>
    <p:sldLayoutId id="2147487096" r:id="rId148"/>
    <p:sldLayoutId id="2147487097" r:id="rId149"/>
    <p:sldLayoutId id="2147487098" r:id="rId150"/>
    <p:sldLayoutId id="2147487099" r:id="rId151"/>
    <p:sldLayoutId id="2147487318" r:id="rId152"/>
    <p:sldLayoutId id="2147487319" r:id="rId153"/>
    <p:sldLayoutId id="2147487320" r:id="rId154"/>
    <p:sldLayoutId id="2147487100" r:id="rId155"/>
    <p:sldLayoutId id="2147487101" r:id="rId156"/>
    <p:sldLayoutId id="2147487102" r:id="rId157"/>
    <p:sldLayoutId id="2147487103" r:id="rId158"/>
    <p:sldLayoutId id="2147487104" r:id="rId159"/>
    <p:sldLayoutId id="2147487326" r:id="rId160"/>
    <p:sldLayoutId id="2147487105" r:id="rId161"/>
    <p:sldLayoutId id="2147487106" r:id="rId162"/>
    <p:sldLayoutId id="2147487107" r:id="rId163"/>
    <p:sldLayoutId id="2147487108" r:id="rId164"/>
    <p:sldLayoutId id="2147487109" r:id="rId165"/>
    <p:sldLayoutId id="2147487110" r:id="rId166"/>
    <p:sldLayoutId id="2147487111" r:id="rId167"/>
    <p:sldLayoutId id="2147487112" r:id="rId168"/>
    <p:sldLayoutId id="2147487113" r:id="rId169"/>
    <p:sldLayoutId id="2147487114" r:id="rId170"/>
    <p:sldLayoutId id="2147487115" r:id="rId171"/>
    <p:sldLayoutId id="2147487116" r:id="rId172"/>
    <p:sldLayoutId id="2147487117" r:id="rId173"/>
    <p:sldLayoutId id="2147487118" r:id="rId174"/>
    <p:sldLayoutId id="2147487119" r:id="rId175"/>
    <p:sldLayoutId id="2147487120" r:id="rId176"/>
    <p:sldLayoutId id="2147487121" r:id="rId177"/>
    <p:sldLayoutId id="2147487122" r:id="rId178"/>
    <p:sldLayoutId id="2147487123" r:id="rId179"/>
    <p:sldLayoutId id="2147487346" r:id="rId180"/>
    <p:sldLayoutId id="2147487124" r:id="rId181"/>
    <p:sldLayoutId id="2147487348" r:id="rId182"/>
    <p:sldLayoutId id="2147487349" r:id="rId183"/>
    <p:sldLayoutId id="2147483847" r:id="rId184"/>
    <p:sldLayoutId id="2147483848" r:id="rId185"/>
    <p:sldLayoutId id="2147483849" r:id="rId186"/>
    <p:sldLayoutId id="2147483850" r:id="rId187"/>
    <p:sldLayoutId id="2147483851" r:id="rId188"/>
    <p:sldLayoutId id="2147483852" r:id="rId189"/>
    <p:sldLayoutId id="2147483853" r:id="rId190"/>
    <p:sldLayoutId id="2147483854" r:id="rId191"/>
    <p:sldLayoutId id="2147483855" r:id="rId192"/>
    <p:sldLayoutId id="2147483856" r:id="rId193"/>
    <p:sldLayoutId id="2147483857" r:id="rId194"/>
    <p:sldLayoutId id="2147483858" r:id="rId195"/>
    <p:sldLayoutId id="2147483859" r:id="rId196"/>
    <p:sldLayoutId id="2147487005" r:id="rId197"/>
    <p:sldLayoutId id="2147483861" r:id="rId198"/>
    <p:sldLayoutId id="2147483862" r:id="rId199"/>
    <p:sldLayoutId id="2147483863" r:id="rId200"/>
    <p:sldLayoutId id="2147483864" r:id="rId201"/>
    <p:sldLayoutId id="2147483865" r:id="rId202"/>
    <p:sldLayoutId id="2147483866" r:id="rId203"/>
    <p:sldLayoutId id="2147483867" r:id="rId204"/>
    <p:sldLayoutId id="2147483868" r:id="rId205"/>
    <p:sldLayoutId id="2147483869" r:id="rId206"/>
    <p:sldLayoutId id="2147483870" r:id="rId207"/>
    <p:sldLayoutId id="2147483871" r:id="rId208"/>
    <p:sldLayoutId id="2147483872" r:id="rId209"/>
    <p:sldLayoutId id="2147483873" r:id="rId210"/>
    <p:sldLayoutId id="2147483874" r:id="rId211"/>
    <p:sldLayoutId id="2147483875" r:id="rId212"/>
    <p:sldLayoutId id="2147483876" r:id="rId213"/>
    <p:sldLayoutId id="2147483877" r:id="rId214"/>
    <p:sldLayoutId id="2147483878" r:id="rId215"/>
    <p:sldLayoutId id="2147483879" r:id="rId216"/>
    <p:sldLayoutId id="2147483880" r:id="rId217"/>
    <p:sldLayoutId id="2147483881" r:id="rId218"/>
    <p:sldLayoutId id="2147483882" r:id="rId219"/>
    <p:sldLayoutId id="2147483883" r:id="rId220"/>
    <p:sldLayoutId id="2147483884" r:id="rId221"/>
    <p:sldLayoutId id="2147483885" r:id="rId222"/>
    <p:sldLayoutId id="2147483886" r:id="rId223"/>
    <p:sldLayoutId id="2147483887" r:id="rId224"/>
    <p:sldLayoutId id="2147483888" r:id="rId225"/>
    <p:sldLayoutId id="2147483889" r:id="rId226"/>
    <p:sldLayoutId id="2147483890" r:id="rId227"/>
    <p:sldLayoutId id="2147483891" r:id="rId228"/>
    <p:sldLayoutId id="2147483892" r:id="rId229"/>
    <p:sldLayoutId id="2147483893" r:id="rId230"/>
    <p:sldLayoutId id="2147483894" r:id="rId231"/>
    <p:sldLayoutId id="2147483895" r:id="rId232"/>
    <p:sldLayoutId id="2147483896" r:id="rId233"/>
    <p:sldLayoutId id="2147483897" r:id="rId234"/>
    <p:sldLayoutId id="2147483898" r:id="rId235"/>
    <p:sldLayoutId id="2147483899" r:id="rId236"/>
    <p:sldLayoutId id="2147483900" r:id="rId237"/>
    <p:sldLayoutId id="2147483901" r:id="rId238"/>
    <p:sldLayoutId id="2147483902" r:id="rId239"/>
    <p:sldLayoutId id="2147483903" r:id="rId240"/>
    <p:sldLayoutId id="2147483904" r:id="rId241"/>
    <p:sldLayoutId id="2147483905" r:id="rId242"/>
    <p:sldLayoutId id="2147483906" r:id="rId243"/>
    <p:sldLayoutId id="2147483907" r:id="rId244"/>
    <p:sldLayoutId id="2147487126" r:id="rId245"/>
    <p:sldLayoutId id="2147487128" r:id="rId246"/>
    <p:sldLayoutId id="2147487129" r:id="rId247"/>
    <p:sldLayoutId id="2147487127" r:id="rId248"/>
    <p:sldLayoutId id="2147487131" r:id="rId249"/>
    <p:sldLayoutId id="2147487132" r:id="rId250"/>
    <p:sldLayoutId id="2147487133" r:id="rId251"/>
    <p:sldLayoutId id="2147487134" r:id="rId252"/>
    <p:sldLayoutId id="2147487135" r:id="rId253"/>
    <p:sldLayoutId id="2147487136" r:id="rId254"/>
    <p:sldLayoutId id="2147487137" r:id="rId255"/>
    <p:sldLayoutId id="2147487138" r:id="rId256"/>
    <p:sldLayoutId id="2147487139" r:id="rId257"/>
    <p:sldLayoutId id="2147487140" r:id="rId258"/>
    <p:sldLayoutId id="2147487141" r:id="rId259"/>
    <p:sldLayoutId id="2147487142" r:id="rId260"/>
    <p:sldLayoutId id="2147483925" r:id="rId261"/>
    <p:sldLayoutId id="2147483926" r:id="rId262"/>
    <p:sldLayoutId id="2147483927" r:id="rId263"/>
    <p:sldLayoutId id="2147483928" r:id="rId264"/>
    <p:sldLayoutId id="2147483929" r:id="rId265"/>
    <p:sldLayoutId id="2147483930" r:id="rId266"/>
    <p:sldLayoutId id="2147483931" r:id="rId267"/>
    <p:sldLayoutId id="2147483932" r:id="rId268"/>
    <p:sldLayoutId id="2147483933" r:id="rId269"/>
    <p:sldLayoutId id="2147483934" r:id="rId270"/>
    <p:sldLayoutId id="2147483935" r:id="rId271"/>
    <p:sldLayoutId id="2147483936" r:id="rId272"/>
    <p:sldLayoutId id="2147487130" r:id="rId273"/>
    <p:sldLayoutId id="2147483735" r:id="rId274"/>
    <p:sldLayoutId id="2147486987" r:id="rId275"/>
    <p:sldLayoutId id="2147487355" r:id="rId276"/>
    <p:sldLayoutId id="2147487369" r:id="rId277"/>
    <p:sldLayoutId id="2147487356" r:id="rId278"/>
    <p:sldLayoutId id="2147487357" r:id="rId279"/>
    <p:sldLayoutId id="2147487358" r:id="rId280"/>
    <p:sldLayoutId id="2147485074" r:id="rId281"/>
    <p:sldLayoutId id="2147485075" r:id="rId282"/>
    <p:sldLayoutId id="2147485076" r:id="rId283"/>
    <p:sldLayoutId id="2147485077" r:id="rId284"/>
    <p:sldLayoutId id="2147485078" r:id="rId285"/>
    <p:sldLayoutId id="2147484851" r:id="rId286"/>
    <p:sldLayoutId id="2147487362" r:id="rId287"/>
    <p:sldLayoutId id="2147487360" r:id="rId288"/>
    <p:sldLayoutId id="2147483736" r:id="rId289"/>
    <p:sldLayoutId id="2147487359" r:id="rId290"/>
    <p:sldLayoutId id="2147487361" r:id="rId291"/>
    <p:sldLayoutId id="2147483758" r:id="rId292"/>
    <p:sldLayoutId id="2147483759" r:id="rId293"/>
    <p:sldLayoutId id="2147483757" r:id="rId294"/>
    <p:sldLayoutId id="2147483764" r:id="rId295"/>
    <p:sldLayoutId id="2147483765" r:id="rId296"/>
    <p:sldLayoutId id="2147483766" r:id="rId297"/>
    <p:sldLayoutId id="2147487379" r:id="rId298"/>
    <p:sldLayoutId id="2147483739" r:id="rId299"/>
    <p:sldLayoutId id="2147483750" r:id="rId300"/>
    <p:sldLayoutId id="2147484627" r:id="rId301"/>
    <p:sldLayoutId id="2147485879" r:id="rId302"/>
    <p:sldLayoutId id="2147484838" r:id="rId303"/>
    <p:sldLayoutId id="2147485857" r:id="rId304"/>
    <p:sldLayoutId id="2147485858" r:id="rId305"/>
    <p:sldLayoutId id="2147485859" r:id="rId306"/>
    <p:sldLayoutId id="2147485860" r:id="rId307"/>
    <p:sldLayoutId id="2147485861" r:id="rId308"/>
    <p:sldLayoutId id="2147484634" r:id="rId309"/>
    <p:sldLayoutId id="2147484635" r:id="rId310"/>
    <p:sldLayoutId id="2147484238" r:id="rId311"/>
    <p:sldLayoutId id="2147486915" r:id="rId312"/>
    <p:sldLayoutId id="2147484840" r:id="rId313"/>
    <p:sldLayoutId id="2147486917" r:id="rId314"/>
    <p:sldLayoutId id="2147484203" r:id="rId315"/>
    <p:sldLayoutId id="2147484204" r:id="rId316"/>
    <p:sldLayoutId id="2147484205" r:id="rId317"/>
    <p:sldLayoutId id="2147484206" r:id="rId318"/>
    <p:sldLayoutId id="2147484237" r:id="rId319"/>
    <p:sldLayoutId id="2147484208" r:id="rId320"/>
    <p:sldLayoutId id="2147485064" r:id="rId321"/>
    <p:sldLayoutId id="2147485065" r:id="rId322"/>
    <p:sldLayoutId id="2147486965" r:id="rId323"/>
    <p:sldLayoutId id="2147485066" r:id="rId324"/>
    <p:sldLayoutId id="2147485067" r:id="rId325"/>
    <p:sldLayoutId id="2147485068" r:id="rId326"/>
    <p:sldLayoutId id="2147485069" r:id="rId327"/>
    <p:sldLayoutId id="2147485352" r:id="rId328"/>
    <p:sldLayoutId id="2147485070" r:id="rId329"/>
    <p:sldLayoutId id="2147486030" r:id="rId330"/>
    <p:sldLayoutId id="2147485071" r:id="rId331"/>
    <p:sldLayoutId id="2147487168" r:id="rId332"/>
    <p:sldLayoutId id="2147484626" r:id="rId333"/>
    <p:sldLayoutId id="2147484836" r:id="rId334"/>
    <p:sldLayoutId id="2147484837" r:id="rId335"/>
    <p:sldLayoutId id="2147487169" r:id="rId336"/>
    <p:sldLayoutId id="2147484602" r:id="rId337"/>
    <p:sldLayoutId id="2147484603" r:id="rId338"/>
    <p:sldLayoutId id="2147484604" r:id="rId339"/>
    <p:sldLayoutId id="2147484839" r:id="rId340"/>
    <p:sldLayoutId id="2147485847" r:id="rId341"/>
    <p:sldLayoutId id="2147485848" r:id="rId342"/>
    <p:sldLayoutId id="2147485849" r:id="rId343"/>
    <p:sldLayoutId id="2147485850" r:id="rId344"/>
    <p:sldLayoutId id="2147485851" r:id="rId345"/>
    <p:sldLayoutId id="2147485852" r:id="rId346"/>
    <p:sldLayoutId id="2147485853" r:id="rId347"/>
    <p:sldLayoutId id="2147485854" r:id="rId348"/>
    <p:sldLayoutId id="2147485855" r:id="rId349"/>
    <p:sldLayoutId id="2147485856" r:id="rId350"/>
    <p:sldLayoutId id="2147484384" r:id="rId351"/>
    <p:sldLayoutId id="2147485405" r:id="rId352"/>
    <p:sldLayoutId id="2147484559" r:id="rId353"/>
    <p:sldLayoutId id="2147484385" r:id="rId354"/>
    <p:sldLayoutId id="2147485406" r:id="rId355"/>
    <p:sldLayoutId id="2147484387" r:id="rId356"/>
    <p:sldLayoutId id="2147484388" r:id="rId357"/>
    <p:sldLayoutId id="2147484389" r:id="rId358"/>
    <p:sldLayoutId id="2147484390" r:id="rId359"/>
    <p:sldLayoutId id="2147484391" r:id="rId360"/>
    <p:sldLayoutId id="2147484392" r:id="rId361"/>
    <p:sldLayoutId id="2147486953" r:id="rId362"/>
    <p:sldLayoutId id="2147486205" r:id="rId363"/>
    <p:sldLayoutId id="2147486206" r:id="rId364"/>
    <p:sldLayoutId id="2147486207" r:id="rId365"/>
    <p:sldLayoutId id="2147486208" r:id="rId366"/>
    <p:sldLayoutId id="2147486209" r:id="rId367"/>
    <p:sldLayoutId id="2147484766" r:id="rId368"/>
    <p:sldLayoutId id="2147486426" r:id="rId369"/>
    <p:sldLayoutId id="2147486404" r:id="rId370"/>
    <p:sldLayoutId id="2147484767" r:id="rId371"/>
    <p:sldLayoutId id="2147486405" r:id="rId372"/>
    <p:sldLayoutId id="2147486406" r:id="rId373"/>
    <p:sldLayoutId id="2147486407" r:id="rId374"/>
    <p:sldLayoutId id="2147486408" r:id="rId375"/>
    <p:sldLayoutId id="2147486409" r:id="rId376"/>
    <p:sldLayoutId id="2147484768" r:id="rId377"/>
    <p:sldLayoutId id="2147486428" r:id="rId378"/>
    <p:sldLayoutId id="2147486200" r:id="rId379"/>
    <p:sldLayoutId id="2147486201" r:id="rId380"/>
    <p:sldLayoutId id="2147486202" r:id="rId381"/>
    <p:sldLayoutId id="2147486989" r:id="rId382"/>
    <p:sldLayoutId id="2147486203" r:id="rId383"/>
    <p:sldLayoutId id="2147484842" r:id="rId384"/>
    <p:sldLayoutId id="2147483743" r:id="rId385"/>
    <p:sldLayoutId id="2147487370" r:id="rId386"/>
    <p:sldLayoutId id="2147487371" r:id="rId387"/>
    <p:sldLayoutId id="2147483751" r:id="rId388"/>
    <p:sldLayoutId id="2147483760" r:id="rId389"/>
    <p:sldLayoutId id="2147487376" r:id="rId390"/>
    <p:sldLayoutId id="2147487377" r:id="rId391"/>
    <p:sldLayoutId id="2147487378" r:id="rId392"/>
    <p:sldLayoutId id="2147487372" r:id="rId393"/>
    <p:sldLayoutId id="2147487373" r:id="rId394"/>
    <p:sldLayoutId id="2147487374" r:id="rId395"/>
    <p:sldLayoutId id="2147485878" r:id="rId396"/>
    <p:sldLayoutId id="2147484654" r:id="rId397"/>
    <p:sldLayoutId id="2147484655" r:id="rId398"/>
    <p:sldLayoutId id="2147484608" r:id="rId399"/>
    <p:sldLayoutId id="2147485213" r:id="rId400"/>
    <p:sldLayoutId id="2147485214" r:id="rId401"/>
    <p:sldLayoutId id="2147485179" r:id="rId402"/>
    <p:sldLayoutId id="2147485354" r:id="rId403"/>
    <p:sldLayoutId id="2147486926" r:id="rId404"/>
    <p:sldLayoutId id="2147486360" r:id="rId405"/>
    <p:sldLayoutId id="2147485556" r:id="rId406"/>
    <p:sldLayoutId id="2147486361" r:id="rId407"/>
    <p:sldLayoutId id="2147487375" r:id="rId408"/>
    <p:sldLayoutId id="2147484335" r:id="rId409"/>
    <p:sldLayoutId id="2147484336" r:id="rId410"/>
    <p:sldLayoutId id="2147484337" r:id="rId411"/>
    <p:sldLayoutId id="2147484853" r:id="rId412"/>
    <p:sldLayoutId id="2147484339" r:id="rId413"/>
    <p:sldLayoutId id="2147484340" r:id="rId414"/>
    <p:sldLayoutId id="2147484341" r:id="rId415"/>
    <p:sldLayoutId id="2147484342" r:id="rId416"/>
    <p:sldLayoutId id="2147484343" r:id="rId417"/>
    <p:sldLayoutId id="2147484344" r:id="rId418"/>
    <p:sldLayoutId id="2147485468" r:id="rId419"/>
    <p:sldLayoutId id="2147485865" r:id="rId420"/>
    <p:sldLayoutId id="2147484364" r:id="rId421"/>
    <p:sldLayoutId id="2147485358" r:id="rId422"/>
    <p:sldLayoutId id="2147485868" r:id="rId423"/>
    <p:sldLayoutId id="2147485869" r:id="rId424"/>
    <p:sldLayoutId id="2147485870" r:id="rId425"/>
    <p:sldLayoutId id="2147485385" r:id="rId426"/>
    <p:sldLayoutId id="2147485871" r:id="rId427"/>
    <p:sldLayoutId id="2147485469" r:id="rId428"/>
    <p:sldLayoutId id="2147484570" r:id="rId429"/>
    <p:sldLayoutId id="2147484222" r:id="rId430"/>
    <p:sldLayoutId id="2147484854" r:id="rId431"/>
    <p:sldLayoutId id="2147484855" r:id="rId432"/>
    <p:sldLayoutId id="2147485079" r:id="rId433"/>
    <p:sldLayoutId id="2147485080" r:id="rId434"/>
    <p:sldLayoutId id="2147485081" r:id="rId435"/>
    <p:sldLayoutId id="2147485082" r:id="rId436"/>
    <p:sldLayoutId id="2147485083" r:id="rId437"/>
    <p:sldLayoutId id="2147484596" r:id="rId438"/>
    <p:sldLayoutId id="2147484835" r:id="rId439"/>
    <p:sldLayoutId id="2147484353" r:id="rId440"/>
    <p:sldLayoutId id="2147484852" r:id="rId441"/>
    <p:sldLayoutId id="2147487363" r:id="rId442"/>
    <p:sldLayoutId id="2147485093" r:id="rId443"/>
    <p:sldLayoutId id="2147486929" r:id="rId444"/>
    <p:sldLayoutId id="2147485072" r:id="rId445"/>
    <p:sldLayoutId id="2147485355" r:id="rId446"/>
    <p:sldLayoutId id="2147483726" r:id="rId447"/>
    <p:sldLayoutId id="2147487364" r:id="rId448"/>
    <p:sldLayoutId id="2147487365" r:id="rId449"/>
    <p:sldLayoutId id="2147487366" r:id="rId450"/>
    <p:sldLayoutId id="2147487367" r:id="rId451"/>
    <p:sldLayoutId id="2147483734" r:id="rId452"/>
    <p:sldLayoutId id="2147487368" r:id="rId453"/>
    <p:sldLayoutId id="2147484355" r:id="rId454"/>
    <p:sldLayoutId id="2147485444" r:id="rId455"/>
    <p:sldLayoutId id="2147484356" r:id="rId456"/>
    <p:sldLayoutId id="2147483860" r:id="rId457"/>
    <p:sldLayoutId id="2147486993" r:id="rId458"/>
    <p:sldLayoutId id="2147484357" r:id="rId459"/>
    <p:sldLayoutId id="2147484358" r:id="rId460"/>
    <p:sldLayoutId id="2147484359" r:id="rId461"/>
    <p:sldLayoutId id="2147484360" r:id="rId462"/>
    <p:sldLayoutId id="2147484361" r:id="rId463"/>
    <p:sldLayoutId id="2147484393" r:id="rId464"/>
    <p:sldLayoutId id="2147484394" r:id="rId465"/>
    <p:sldLayoutId id="2147483672" r:id="rId466"/>
    <p:sldLayoutId id="2147483673" r:id="rId467"/>
    <p:sldLayoutId id="2147486423" r:id="rId468"/>
    <p:sldLayoutId id="2147486950" r:id="rId469"/>
    <p:sldLayoutId id="2147484845" r:id="rId470"/>
    <p:sldLayoutId id="2147484846" r:id="rId471"/>
    <p:sldLayoutId id="2147484566" r:id="rId472"/>
    <p:sldLayoutId id="2147485470" r:id="rId473"/>
    <p:sldLayoutId id="2147484231" r:id="rId474"/>
    <p:sldLayoutId id="2147484268" r:id="rId475"/>
    <p:sldLayoutId id="2147484235" r:id="rId476"/>
    <p:sldLayoutId id="2147484847" r:id="rId477"/>
    <p:sldLayoutId id="2147484245" r:id="rId478"/>
    <p:sldLayoutId id="2147484262" r:id="rId479"/>
    <p:sldLayoutId id="2147486955" r:id="rId480"/>
    <p:sldLayoutId id="2147485238" r:id="rId481"/>
    <p:sldLayoutId id="2147486956" r:id="rId482"/>
    <p:sldLayoutId id="2147484233" r:id="rId483"/>
    <p:sldLayoutId id="2147486948" r:id="rId484"/>
    <p:sldLayoutId id="2147484774" r:id="rId485"/>
    <p:sldLayoutId id="2147484775" r:id="rId486"/>
    <p:sldLayoutId id="2147486425" r:id="rId487"/>
    <p:sldLayoutId id="2147484776" r:id="rId488"/>
    <p:sldLayoutId id="2147484777" r:id="rId489"/>
    <p:sldLayoutId id="2147486387" r:id="rId490"/>
    <p:sldLayoutId id="2147486389" r:id="rId491"/>
    <p:sldLayoutId id="2147486391" r:id="rId492"/>
    <p:sldLayoutId id="2147486949" r:id="rId493"/>
    <p:sldLayoutId id="2147486424" r:id="rId494"/>
    <p:sldLayoutId id="2147484821" r:id="rId495"/>
    <p:sldLayoutId id="2147486952" r:id="rId496"/>
    <p:sldLayoutId id="2147485239" r:id="rId497"/>
    <p:sldLayoutId id="2147484848" r:id="rId498"/>
    <p:sldLayoutId id="2147486048" r:id="rId499"/>
    <p:sldLayoutId id="2147486954" r:id="rId500"/>
    <p:sldLayoutId id="2147484400" r:id="rId501"/>
    <p:sldLayoutId id="2147484401" r:id="rId502"/>
    <p:sldLayoutId id="2147484402" r:id="rId503"/>
    <p:sldLayoutId id="2147484822" r:id="rId504"/>
    <p:sldLayoutId id="2147486251" r:id="rId505"/>
    <p:sldLayoutId id="2147484849" r:id="rId506"/>
    <p:sldLayoutId id="2147484850" r:id="rId507"/>
    <p:sldLayoutId id="2147487350" r:id="rId508"/>
    <p:sldLayoutId id="2147487351" r:id="rId509"/>
    <p:sldLayoutId id="2147486990" r:id="rId510"/>
    <p:sldLayoutId id="2147484585" r:id="rId511"/>
    <p:sldLayoutId id="2147484586" r:id="rId512"/>
    <p:sldLayoutId id="2147484587" r:id="rId513"/>
    <p:sldLayoutId id="2147484588" r:id="rId514"/>
    <p:sldLayoutId id="2147484592" r:id="rId515"/>
    <p:sldLayoutId id="2147484593" r:id="rId516"/>
    <p:sldLayoutId id="2147484594" r:id="rId517"/>
    <p:sldLayoutId id="2147487156" r:id="rId518"/>
    <p:sldLayoutId id="2147485370" r:id="rId519"/>
    <p:sldLayoutId id="2147485872" r:id="rId520"/>
    <p:sldLayoutId id="2147486927" r:id="rId521"/>
    <p:sldLayoutId id="2147485367" r:id="rId522"/>
    <p:sldLayoutId id="2147485368" r:id="rId523"/>
    <p:sldLayoutId id="2147485369" r:id="rId524"/>
    <p:sldLayoutId id="2147485400" r:id="rId525"/>
    <p:sldLayoutId id="2147485401" r:id="rId526"/>
    <p:sldLayoutId id="2147485402" r:id="rId527"/>
    <p:sldLayoutId id="2147485403" r:id="rId528"/>
    <p:sldLayoutId id="2147486221" r:id="rId529"/>
    <p:sldLayoutId id="2147483752" r:id="rId530"/>
    <p:sldLayoutId id="2147483753" r:id="rId531"/>
    <p:sldLayoutId id="2147483754" r:id="rId532"/>
    <p:sldLayoutId id="2147483755" r:id="rId533"/>
    <p:sldLayoutId id="2147484386" r:id="rId534"/>
    <p:sldLayoutId id="2147484815" r:id="rId535"/>
    <p:sldLayoutId id="2147484816" r:id="rId536"/>
    <p:sldLayoutId id="2147484817" r:id="rId537"/>
    <p:sldLayoutId id="2147484329" r:id="rId538"/>
    <p:sldLayoutId id="2147486396" r:id="rId539"/>
    <p:sldLayoutId id="2147486397" r:id="rId540"/>
    <p:sldLayoutId id="2147486418" r:id="rId541"/>
    <p:sldLayoutId id="2147484330" r:id="rId542"/>
    <p:sldLayoutId id="2147484331" r:id="rId543"/>
    <p:sldLayoutId id="2147484332" r:id="rId544"/>
    <p:sldLayoutId id="2147484485" r:id="rId545"/>
    <p:sldLayoutId id="2147484486" r:id="rId546"/>
    <p:sldLayoutId id="2147484609" r:id="rId547"/>
    <p:sldLayoutId id="2147484477" r:id="rId548"/>
    <p:sldLayoutId id="2147484478" r:id="rId549"/>
    <p:sldLayoutId id="2147484260" r:id="rId550"/>
    <p:sldLayoutId id="2147484856" r:id="rId551"/>
    <p:sldLayoutId id="2147484480" r:id="rId552"/>
    <p:sldLayoutId id="2147484267" r:id="rId553"/>
    <p:sldLayoutId id="2147484481" r:id="rId554"/>
    <p:sldLayoutId id="2147484482" r:id="rId555"/>
    <p:sldLayoutId id="2147484483" r:id="rId556"/>
    <p:sldLayoutId id="2147484484" r:id="rId557"/>
    <p:sldLayoutId id="2147485270" r:id="rId558"/>
    <p:sldLayoutId id="2147485271" r:id="rId559"/>
    <p:sldLayoutId id="2147485272" r:id="rId560"/>
    <p:sldLayoutId id="2147484857" r:id="rId561"/>
    <p:sldLayoutId id="2147485273" r:id="rId562"/>
    <p:sldLayoutId id="2147485274" r:id="rId563"/>
    <p:sldLayoutId id="2147485275" r:id="rId564"/>
    <p:sldLayoutId id="2147485276" r:id="rId565"/>
    <p:sldLayoutId id="2147485277" r:id="rId566"/>
    <p:sldLayoutId id="2147485278" r:id="rId567"/>
    <p:sldLayoutId id="2147486991" r:id="rId568"/>
    <p:sldLayoutId id="2147486992" r:id="rId569"/>
    <p:sldLayoutId id="2147486252" r:id="rId570"/>
    <p:sldLayoutId id="2147486253" r:id="rId571"/>
    <p:sldLayoutId id="2147486363" r:id="rId572"/>
    <p:sldLayoutId id="2147487006" r:id="rId573"/>
    <p:sldLayoutId id="2147486364" r:id="rId574"/>
    <p:sldLayoutId id="2147486365" r:id="rId575"/>
    <p:sldLayoutId id="2147487007" r:id="rId576"/>
    <p:sldLayoutId id="2147483940" r:id="rId577"/>
    <p:sldLayoutId id="2147486366" r:id="rId578"/>
    <p:sldLayoutId id="2147486367" r:id="rId579"/>
    <p:sldLayoutId id="2147486368" r:id="rId580"/>
    <p:sldLayoutId id="2147486369" r:id="rId581"/>
    <p:sldLayoutId id="2147483944" r:id="rId582"/>
    <p:sldLayoutId id="2147483945" r:id="rId583"/>
    <p:sldLayoutId id="2147483949" r:id="rId584"/>
    <p:sldLayoutId id="2147483953" r:id="rId585"/>
    <p:sldLayoutId id="2147483954" r:id="rId586"/>
    <p:sldLayoutId id="2147483955" r:id="rId587"/>
    <p:sldLayoutId id="2147483956" r:id="rId588"/>
    <p:sldLayoutId id="2147483957" r:id="rId589"/>
    <p:sldLayoutId id="2147483958" r:id="rId590"/>
    <p:sldLayoutId id="2147483959" r:id="rId591"/>
    <p:sldLayoutId id="2147483960" r:id="rId592"/>
    <p:sldLayoutId id="2147483961" r:id="rId593"/>
    <p:sldLayoutId id="2147483962" r:id="rId594"/>
    <p:sldLayoutId id="2147483963" r:id="rId595"/>
    <p:sldLayoutId id="2147483964" r:id="rId596"/>
    <p:sldLayoutId id="2147483965" r:id="rId597"/>
    <p:sldLayoutId id="2147483966" r:id="rId598"/>
    <p:sldLayoutId id="2147483967" r:id="rId599"/>
    <p:sldLayoutId id="2147483968" r:id="rId600"/>
    <p:sldLayoutId id="2147483969" r:id="rId601"/>
    <p:sldLayoutId id="2147483970" r:id="rId602"/>
    <p:sldLayoutId id="2147483971" r:id="rId603"/>
    <p:sldLayoutId id="2147483972" r:id="rId604"/>
    <p:sldLayoutId id="2147483973" r:id="rId605"/>
    <p:sldLayoutId id="2147483974" r:id="rId606"/>
    <p:sldLayoutId id="2147483975" r:id="rId607"/>
    <p:sldLayoutId id="2147483976" r:id="rId608"/>
    <p:sldLayoutId id="2147483977" r:id="rId609"/>
    <p:sldLayoutId id="2147483978" r:id="rId610"/>
    <p:sldLayoutId id="2147483979" r:id="rId611"/>
    <p:sldLayoutId id="2147483980" r:id="rId612"/>
    <p:sldLayoutId id="2147483981" r:id="rId613"/>
    <p:sldLayoutId id="2147483982" r:id="rId614"/>
    <p:sldLayoutId id="2147483983" r:id="rId615"/>
    <p:sldLayoutId id="2147483984" r:id="rId616"/>
    <p:sldLayoutId id="2147483985" r:id="rId617"/>
    <p:sldLayoutId id="2147483986" r:id="rId618"/>
    <p:sldLayoutId id="2147483987" r:id="rId619"/>
    <p:sldLayoutId id="2147483988" r:id="rId620"/>
    <p:sldLayoutId id="2147483989" r:id="rId621"/>
    <p:sldLayoutId id="2147483990" r:id="rId622"/>
    <p:sldLayoutId id="2147483991" r:id="rId623"/>
    <p:sldLayoutId id="2147483992" r:id="rId624"/>
    <p:sldLayoutId id="2147483993" r:id="rId625"/>
    <p:sldLayoutId id="2147483994" r:id="rId626"/>
    <p:sldLayoutId id="2147483995" r:id="rId627"/>
    <p:sldLayoutId id="2147483996" r:id="rId628"/>
    <p:sldLayoutId id="2147483997" r:id="rId629"/>
    <p:sldLayoutId id="2147483998" r:id="rId630"/>
    <p:sldLayoutId id="2147483999" r:id="rId631"/>
    <p:sldLayoutId id="2147484000" r:id="rId632"/>
    <p:sldLayoutId id="2147484001" r:id="rId633"/>
    <p:sldLayoutId id="2147484002" r:id="rId634"/>
    <p:sldLayoutId id="2147484003" r:id="rId635"/>
    <p:sldLayoutId id="2147484004" r:id="rId636"/>
    <p:sldLayoutId id="2147484652" r:id="rId637"/>
    <p:sldLayoutId id="2147484653" r:id="rId638"/>
    <p:sldLayoutId id="2147487008" r:id="rId639"/>
    <p:sldLayoutId id="2147487009" r:id="rId640"/>
    <p:sldLayoutId id="2147487010" r:id="rId641"/>
    <p:sldLayoutId id="2147487011" r:id="rId642"/>
    <p:sldLayoutId id="2147487012" r:id="rId643"/>
    <p:sldLayoutId id="2147487013" r:id="rId644"/>
    <p:sldLayoutId id="2147484999" r:id="rId645"/>
    <p:sldLayoutId id="2147485000" r:id="rId646"/>
    <p:sldLayoutId id="2147485001" r:id="rId647"/>
    <p:sldLayoutId id="2147485002" r:id="rId648"/>
    <p:sldLayoutId id="2147485006" r:id="rId649"/>
    <p:sldLayoutId id="2147485007" r:id="rId650"/>
    <p:sldLayoutId id="2147485008" r:id="rId651"/>
    <p:sldLayoutId id="2147485877" r:id="rId652"/>
    <p:sldLayoutId id="2147486419" r:id="rId653"/>
    <p:sldLayoutId id="2147486079" r:id="rId654"/>
    <p:sldLayoutId id="2147487352" r:id="rId655"/>
    <p:sldLayoutId id="2147483677" r:id="rId656"/>
    <p:sldLayoutId id="2147487353" r:id="rId657"/>
    <p:sldLayoutId id="2147487354" r:id="rId658"/>
    <p:sldLayoutId id="2147485215" r:id="rId659"/>
    <p:sldLayoutId id="2147485425" r:id="rId660"/>
    <p:sldLayoutId id="2147485903" r:id="rId661"/>
    <p:sldLayoutId id="2147485904" r:id="rId662"/>
    <p:sldLayoutId id="2147484354" r:id="rId663"/>
    <p:sldLayoutId id="2147484572" r:id="rId664"/>
    <p:sldLayoutId id="2147485391" r:id="rId665"/>
    <p:sldLayoutId id="2147485392" r:id="rId666"/>
    <p:sldLayoutId id="2147484376" r:id="rId667"/>
    <p:sldLayoutId id="2147485905" r:id="rId668"/>
    <p:sldLayoutId id="2147485906" r:id="rId669"/>
    <p:sldLayoutId id="2147485880" r:id="rId670"/>
    <p:sldLayoutId id="2147485393" r:id="rId671"/>
    <p:sldLayoutId id="2147485394" r:id="rId672"/>
    <p:sldLayoutId id="2147485395" r:id="rId673"/>
    <p:sldLayoutId id="2147486284" r:id="rId674"/>
    <p:sldLayoutId id="2147484378" r:id="rId675"/>
    <p:sldLayoutId id="2147484379" r:id="rId676"/>
    <p:sldLayoutId id="2147485396" r:id="rId677"/>
    <p:sldLayoutId id="2147486222" r:id="rId678"/>
    <p:sldLayoutId id="2147486223" r:id="rId679"/>
    <p:sldLayoutId id="2147486224" r:id="rId680"/>
    <p:sldLayoutId id="2147488079" r:id="rId68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446292310"/>
      </p:ext>
    </p:extLst>
  </p:cSld>
  <p:clrMap bg1="lt1" tx1="dk1" bg2="lt2" tx2="dk2" accent1="accent1" accent2="accent2" accent3="accent3" accent4="accent4" accent5="accent5" accent6="accent6" hlink="hlink" folHlink="folHlink"/>
  <p:sldLayoutIdLst>
    <p:sldLayoutId id="2147487383" r:id="rId1"/>
    <p:sldLayoutId id="2147487384" r:id="rId2"/>
    <p:sldLayoutId id="2147487385" r:id="rId3"/>
    <p:sldLayoutId id="2147487386" r:id="rId4"/>
    <p:sldLayoutId id="2147487387" r:id="rId5"/>
    <p:sldLayoutId id="2147487388" r:id="rId6"/>
    <p:sldLayoutId id="2147487389" r:id="rId7"/>
    <p:sldLayoutId id="2147487390" r:id="rId8"/>
    <p:sldLayoutId id="2147487391" r:id="rId9"/>
    <p:sldLayoutId id="2147487392" r:id="rId10"/>
    <p:sldLayoutId id="2147487393" r:id="rId11"/>
    <p:sldLayoutId id="2147487394" r:id="rId12"/>
    <p:sldLayoutId id="2147487395" r:id="rId13"/>
    <p:sldLayoutId id="2147487396" r:id="rId14"/>
    <p:sldLayoutId id="2147487397" r:id="rId15"/>
    <p:sldLayoutId id="2147487398" r:id="rId16"/>
    <p:sldLayoutId id="2147487401" r:id="rId17"/>
    <p:sldLayoutId id="2147487402" r:id="rId18"/>
    <p:sldLayoutId id="2147487403" r:id="rId19"/>
    <p:sldLayoutId id="2147487404" r:id="rId20"/>
    <p:sldLayoutId id="2147487405" r:id="rId21"/>
    <p:sldLayoutId id="2147487406" r:id="rId22"/>
    <p:sldLayoutId id="2147487407" r:id="rId23"/>
    <p:sldLayoutId id="2147487408" r:id="rId24"/>
    <p:sldLayoutId id="2147487409" r:id="rId25"/>
    <p:sldLayoutId id="2147487410" r:id="rId26"/>
    <p:sldLayoutId id="2147487411" r:id="rId27"/>
    <p:sldLayoutId id="2147487412" r:id="rId28"/>
    <p:sldLayoutId id="2147487413" r:id="rId29"/>
    <p:sldLayoutId id="2147487414" r:id="rId30"/>
    <p:sldLayoutId id="2147487415" r:id="rId31"/>
    <p:sldLayoutId id="2147487416" r:id="rId32"/>
    <p:sldLayoutId id="2147487417" r:id="rId33"/>
    <p:sldLayoutId id="2147487418" r:id="rId34"/>
    <p:sldLayoutId id="2147487419" r:id="rId35"/>
    <p:sldLayoutId id="2147487420" r:id="rId36"/>
    <p:sldLayoutId id="2147487421" r:id="rId37"/>
    <p:sldLayoutId id="2147487422" r:id="rId38"/>
    <p:sldLayoutId id="2147487423" r:id="rId39"/>
    <p:sldLayoutId id="2147487424" r:id="rId40"/>
    <p:sldLayoutId id="2147487425" r:id="rId41"/>
    <p:sldLayoutId id="2147487426" r:id="rId42"/>
    <p:sldLayoutId id="2147487427" r:id="rId43"/>
    <p:sldLayoutId id="2147487428" r:id="rId44"/>
    <p:sldLayoutId id="2147487429" r:id="rId45"/>
    <p:sldLayoutId id="2147487430" r:id="rId46"/>
    <p:sldLayoutId id="2147487431" r:id="rId47"/>
    <p:sldLayoutId id="2147487432" r:id="rId48"/>
    <p:sldLayoutId id="2147487434" r:id="rId49"/>
    <p:sldLayoutId id="2147487435" r:id="rId50"/>
    <p:sldLayoutId id="2147487436" r:id="rId51"/>
    <p:sldLayoutId id="2147487437" r:id="rId52"/>
    <p:sldLayoutId id="2147487438" r:id="rId53"/>
    <p:sldLayoutId id="2147487439" r:id="rId54"/>
    <p:sldLayoutId id="2147487440" r:id="rId55"/>
    <p:sldLayoutId id="2147487441" r:id="rId56"/>
    <p:sldLayoutId id="2147487442" r:id="rId57"/>
    <p:sldLayoutId id="2147487443" r:id="rId58"/>
    <p:sldLayoutId id="2147487444" r:id="rId59"/>
    <p:sldLayoutId id="2147487445" r:id="rId60"/>
    <p:sldLayoutId id="2147487446" r:id="rId61"/>
    <p:sldLayoutId id="2147487447" r:id="rId62"/>
    <p:sldLayoutId id="2147487448" r:id="rId63"/>
    <p:sldLayoutId id="2147487449" r:id="rId64"/>
    <p:sldLayoutId id="2147487450" r:id="rId65"/>
    <p:sldLayoutId id="2147487451" r:id="rId66"/>
    <p:sldLayoutId id="2147487452" r:id="rId67"/>
    <p:sldLayoutId id="2147487453" r:id="rId68"/>
    <p:sldLayoutId id="2147487454" r:id="rId69"/>
    <p:sldLayoutId id="2147487455" r:id="rId70"/>
    <p:sldLayoutId id="2147487456" r:id="rId71"/>
    <p:sldLayoutId id="2147487457" r:id="rId72"/>
    <p:sldLayoutId id="2147487458" r:id="rId73"/>
    <p:sldLayoutId id="2147487459" r:id="rId74"/>
    <p:sldLayoutId id="2147487460" r:id="rId75"/>
    <p:sldLayoutId id="2147487461" r:id="rId76"/>
    <p:sldLayoutId id="2147487462" r:id="rId77"/>
    <p:sldLayoutId id="2147487463" r:id="rId78"/>
    <p:sldLayoutId id="2147487464" r:id="rId79"/>
    <p:sldLayoutId id="2147487465" r:id="rId80"/>
    <p:sldLayoutId id="2147487466" r:id="rId81"/>
    <p:sldLayoutId id="2147487467" r:id="rId82"/>
    <p:sldLayoutId id="2147487468" r:id="rId83"/>
    <p:sldLayoutId id="2147487469" r:id="rId84"/>
    <p:sldLayoutId id="2147487470" r:id="rId85"/>
    <p:sldLayoutId id="2147487471" r:id="rId86"/>
    <p:sldLayoutId id="2147487472" r:id="rId87"/>
    <p:sldLayoutId id="2147487473" r:id="rId88"/>
    <p:sldLayoutId id="2147487474" r:id="rId89"/>
    <p:sldLayoutId id="2147487475" r:id="rId90"/>
    <p:sldLayoutId id="2147487476" r:id="rId91"/>
    <p:sldLayoutId id="2147487477" r:id="rId92"/>
    <p:sldLayoutId id="2147487478" r:id="rId93"/>
    <p:sldLayoutId id="2147487479" r:id="rId94"/>
    <p:sldLayoutId id="2147487480" r:id="rId95"/>
    <p:sldLayoutId id="2147487481" r:id="rId96"/>
    <p:sldLayoutId id="2147487482" r:id="rId97"/>
    <p:sldLayoutId id="2147487483" r:id="rId98"/>
    <p:sldLayoutId id="2147487484" r:id="rId99"/>
    <p:sldLayoutId id="2147487485" r:id="rId100"/>
    <p:sldLayoutId id="2147487486" r:id="rId101"/>
    <p:sldLayoutId id="2147487487" r:id="rId102"/>
    <p:sldLayoutId id="2147487488" r:id="rId103"/>
    <p:sldLayoutId id="2147487489" r:id="rId104"/>
    <p:sldLayoutId id="2147487490" r:id="rId105"/>
    <p:sldLayoutId id="2147487491" r:id="rId106"/>
    <p:sldLayoutId id="2147487492" r:id="rId107"/>
    <p:sldLayoutId id="2147487493" r:id="rId108"/>
    <p:sldLayoutId id="2147487494" r:id="rId109"/>
    <p:sldLayoutId id="2147487495" r:id="rId110"/>
    <p:sldLayoutId id="2147487496" r:id="rId111"/>
    <p:sldLayoutId id="2147487497" r:id="rId112"/>
    <p:sldLayoutId id="2147487498" r:id="rId113"/>
    <p:sldLayoutId id="2147487499" r:id="rId114"/>
    <p:sldLayoutId id="2147487500" r:id="rId115"/>
    <p:sldLayoutId id="2147487501" r:id="rId116"/>
    <p:sldLayoutId id="2147487502" r:id="rId117"/>
    <p:sldLayoutId id="2147487503" r:id="rId118"/>
    <p:sldLayoutId id="2147487504" r:id="rId119"/>
    <p:sldLayoutId id="2147487505" r:id="rId120"/>
    <p:sldLayoutId id="2147487506" r:id="rId121"/>
    <p:sldLayoutId id="2147487507" r:id="rId122"/>
    <p:sldLayoutId id="2147487508" r:id="rId123"/>
    <p:sldLayoutId id="2147487509" r:id="rId124"/>
    <p:sldLayoutId id="2147487510" r:id="rId125"/>
    <p:sldLayoutId id="2147487511" r:id="rId126"/>
    <p:sldLayoutId id="2147487512" r:id="rId127"/>
    <p:sldLayoutId id="2147487513" r:id="rId128"/>
    <p:sldLayoutId id="2147487514" r:id="rId129"/>
    <p:sldLayoutId id="2147487515" r:id="rId130"/>
    <p:sldLayoutId id="2147487516" r:id="rId131"/>
    <p:sldLayoutId id="2147487517" r:id="rId132"/>
    <p:sldLayoutId id="2147487518" r:id="rId133"/>
    <p:sldLayoutId id="2147487519" r:id="rId134"/>
    <p:sldLayoutId id="2147487520" r:id="rId135"/>
    <p:sldLayoutId id="2147487521" r:id="rId136"/>
    <p:sldLayoutId id="2147487522" r:id="rId137"/>
    <p:sldLayoutId id="2147487523" r:id="rId138"/>
    <p:sldLayoutId id="2147487524" r:id="rId139"/>
    <p:sldLayoutId id="2147487525" r:id="rId140"/>
    <p:sldLayoutId id="2147487526" r:id="rId141"/>
    <p:sldLayoutId id="2147487527" r:id="rId142"/>
    <p:sldLayoutId id="2147487528" r:id="rId143"/>
    <p:sldLayoutId id="2147487529" r:id="rId144"/>
    <p:sldLayoutId id="2147487530" r:id="rId145"/>
    <p:sldLayoutId id="2147487531" r:id="rId146"/>
    <p:sldLayoutId id="2147487532" r:id="rId147"/>
    <p:sldLayoutId id="2147487533" r:id="rId148"/>
    <p:sldLayoutId id="2147487534" r:id="rId149"/>
    <p:sldLayoutId id="2147487535" r:id="rId150"/>
    <p:sldLayoutId id="2147487536" r:id="rId151"/>
    <p:sldLayoutId id="2147487537" r:id="rId152"/>
    <p:sldLayoutId id="2147487538" r:id="rId153"/>
    <p:sldLayoutId id="2147487539" r:id="rId154"/>
    <p:sldLayoutId id="2147487540" r:id="rId155"/>
    <p:sldLayoutId id="2147487541" r:id="rId156"/>
    <p:sldLayoutId id="2147487542" r:id="rId157"/>
    <p:sldLayoutId id="2147487543" r:id="rId158"/>
    <p:sldLayoutId id="2147487544" r:id="rId159"/>
    <p:sldLayoutId id="2147487545" r:id="rId160"/>
    <p:sldLayoutId id="2147487546" r:id="rId161"/>
    <p:sldLayoutId id="2147487547" r:id="rId162"/>
    <p:sldLayoutId id="2147487548" r:id="rId163"/>
    <p:sldLayoutId id="2147487549" r:id="rId164"/>
    <p:sldLayoutId id="2147487550" r:id="rId165"/>
    <p:sldLayoutId id="2147487551" r:id="rId166"/>
    <p:sldLayoutId id="2147487552" r:id="rId167"/>
    <p:sldLayoutId id="2147487553" r:id="rId168"/>
    <p:sldLayoutId id="2147487554" r:id="rId169"/>
    <p:sldLayoutId id="2147487555" r:id="rId170"/>
    <p:sldLayoutId id="2147487556" r:id="rId171"/>
    <p:sldLayoutId id="2147487557" r:id="rId172"/>
    <p:sldLayoutId id="2147487558" r:id="rId173"/>
    <p:sldLayoutId id="2147487559" r:id="rId174"/>
    <p:sldLayoutId id="2147487560" r:id="rId175"/>
    <p:sldLayoutId id="2147487561" r:id="rId176"/>
    <p:sldLayoutId id="2147487562" r:id="rId177"/>
    <p:sldLayoutId id="2147487563" r:id="rId178"/>
    <p:sldLayoutId id="2147487564" r:id="rId179"/>
    <p:sldLayoutId id="2147487565" r:id="rId180"/>
    <p:sldLayoutId id="2147487566" r:id="rId181"/>
    <p:sldLayoutId id="2147487567" r:id="rId182"/>
    <p:sldLayoutId id="2147487568" r:id="rId183"/>
    <p:sldLayoutId id="2147487569" r:id="rId184"/>
    <p:sldLayoutId id="2147487570" r:id="rId185"/>
    <p:sldLayoutId id="2147487571" r:id="rId186"/>
    <p:sldLayoutId id="2147487572" r:id="rId187"/>
    <p:sldLayoutId id="2147487573" r:id="rId188"/>
    <p:sldLayoutId id="2147487574" r:id="rId189"/>
    <p:sldLayoutId id="2147487575" r:id="rId190"/>
    <p:sldLayoutId id="2147487576" r:id="rId191"/>
    <p:sldLayoutId id="2147487577" r:id="rId192"/>
    <p:sldLayoutId id="2147487578" r:id="rId193"/>
    <p:sldLayoutId id="2147487579" r:id="rId194"/>
    <p:sldLayoutId id="2147487580" r:id="rId195"/>
    <p:sldLayoutId id="2147487581" r:id="rId196"/>
    <p:sldLayoutId id="2147487582" r:id="rId197"/>
    <p:sldLayoutId id="2147487583" r:id="rId198"/>
    <p:sldLayoutId id="2147487584" r:id="rId199"/>
    <p:sldLayoutId id="2147487585" r:id="rId200"/>
    <p:sldLayoutId id="2147487586" r:id="rId201"/>
    <p:sldLayoutId id="2147487587" r:id="rId202"/>
    <p:sldLayoutId id="2147487588" r:id="rId203"/>
    <p:sldLayoutId id="2147487589" r:id="rId204"/>
    <p:sldLayoutId id="2147487590" r:id="rId205"/>
    <p:sldLayoutId id="2147487591" r:id="rId206"/>
    <p:sldLayoutId id="2147487592" r:id="rId207"/>
    <p:sldLayoutId id="2147487593" r:id="rId208"/>
    <p:sldLayoutId id="2147487594" r:id="rId209"/>
    <p:sldLayoutId id="2147487595" r:id="rId210"/>
    <p:sldLayoutId id="2147487596" r:id="rId211"/>
    <p:sldLayoutId id="2147487597" r:id="rId212"/>
    <p:sldLayoutId id="2147487598" r:id="rId213"/>
    <p:sldLayoutId id="2147487599" r:id="rId214"/>
    <p:sldLayoutId id="2147487600" r:id="rId215"/>
    <p:sldLayoutId id="2147487601" r:id="rId216"/>
    <p:sldLayoutId id="2147487602" r:id="rId217"/>
    <p:sldLayoutId id="2147487603" r:id="rId218"/>
    <p:sldLayoutId id="2147487604" r:id="rId219"/>
    <p:sldLayoutId id="2147487605" r:id="rId220"/>
    <p:sldLayoutId id="2147487606" r:id="rId221"/>
    <p:sldLayoutId id="2147487607" r:id="rId222"/>
    <p:sldLayoutId id="2147487608" r:id="rId223"/>
    <p:sldLayoutId id="2147487609" r:id="rId224"/>
    <p:sldLayoutId id="2147487610" r:id="rId225"/>
    <p:sldLayoutId id="2147487611" r:id="rId226"/>
    <p:sldLayoutId id="2147487612" r:id="rId227"/>
    <p:sldLayoutId id="2147487613" r:id="rId228"/>
    <p:sldLayoutId id="2147487614" r:id="rId229"/>
    <p:sldLayoutId id="2147487615" r:id="rId230"/>
    <p:sldLayoutId id="2147487616" r:id="rId231"/>
    <p:sldLayoutId id="2147487617" r:id="rId232"/>
    <p:sldLayoutId id="2147487618" r:id="rId233"/>
    <p:sldLayoutId id="2147487619" r:id="rId234"/>
    <p:sldLayoutId id="2147487620" r:id="rId235"/>
    <p:sldLayoutId id="2147487621" r:id="rId236"/>
    <p:sldLayoutId id="2147487622" r:id="rId237"/>
    <p:sldLayoutId id="2147487623" r:id="rId238"/>
    <p:sldLayoutId id="2147487624" r:id="rId239"/>
    <p:sldLayoutId id="2147487625" r:id="rId240"/>
    <p:sldLayoutId id="2147487626" r:id="rId241"/>
    <p:sldLayoutId id="2147487627" r:id="rId242"/>
    <p:sldLayoutId id="2147487628" r:id="rId243"/>
    <p:sldLayoutId id="2147487629" r:id="rId244"/>
    <p:sldLayoutId id="2147487630" r:id="rId245"/>
    <p:sldLayoutId id="2147487631" r:id="rId246"/>
    <p:sldLayoutId id="2147487632" r:id="rId247"/>
    <p:sldLayoutId id="2147487633" r:id="rId248"/>
    <p:sldLayoutId id="2147487634" r:id="rId249"/>
    <p:sldLayoutId id="2147487635" r:id="rId250"/>
    <p:sldLayoutId id="2147487636" r:id="rId251"/>
    <p:sldLayoutId id="2147487637" r:id="rId252"/>
    <p:sldLayoutId id="2147487638" r:id="rId253"/>
    <p:sldLayoutId id="2147487639" r:id="rId254"/>
    <p:sldLayoutId id="2147487640" r:id="rId255"/>
    <p:sldLayoutId id="2147487641" r:id="rId256"/>
    <p:sldLayoutId id="2147487642" r:id="rId257"/>
    <p:sldLayoutId id="2147487643" r:id="rId258"/>
    <p:sldLayoutId id="2147487644" r:id="rId259"/>
    <p:sldLayoutId id="2147487645" r:id="rId260"/>
    <p:sldLayoutId id="2147487646" r:id="rId261"/>
    <p:sldLayoutId id="2147487647" r:id="rId262"/>
    <p:sldLayoutId id="2147487648" r:id="rId263"/>
    <p:sldLayoutId id="2147487649" r:id="rId264"/>
    <p:sldLayoutId id="2147487650" r:id="rId265"/>
    <p:sldLayoutId id="2147487651" r:id="rId266"/>
    <p:sldLayoutId id="2147487652" r:id="rId267"/>
    <p:sldLayoutId id="2147487653" r:id="rId268"/>
    <p:sldLayoutId id="2147487654" r:id="rId269"/>
    <p:sldLayoutId id="2147487655" r:id="rId270"/>
    <p:sldLayoutId id="2147487656" r:id="rId271"/>
    <p:sldLayoutId id="2147487657" r:id="rId272"/>
    <p:sldLayoutId id="2147487658" r:id="rId273"/>
    <p:sldLayoutId id="2147487659" r:id="rId274"/>
    <p:sldLayoutId id="2147487660" r:id="rId275"/>
    <p:sldLayoutId id="2147487661" r:id="rId276"/>
    <p:sldLayoutId id="2147487662" r:id="rId277"/>
    <p:sldLayoutId id="2147487663" r:id="rId278"/>
    <p:sldLayoutId id="2147487664" r:id="rId279"/>
    <p:sldLayoutId id="2147487665" r:id="rId280"/>
    <p:sldLayoutId id="2147487666" r:id="rId281"/>
    <p:sldLayoutId id="2147487667" r:id="rId282"/>
    <p:sldLayoutId id="2147487668" r:id="rId283"/>
    <p:sldLayoutId id="2147487669" r:id="rId284"/>
    <p:sldLayoutId id="2147487670" r:id="rId285"/>
    <p:sldLayoutId id="2147487671" r:id="rId286"/>
    <p:sldLayoutId id="2147487672" r:id="rId287"/>
    <p:sldLayoutId id="2147487673" r:id="rId288"/>
    <p:sldLayoutId id="2147487674" r:id="rId289"/>
    <p:sldLayoutId id="2147487675" r:id="rId290"/>
    <p:sldLayoutId id="2147487676" r:id="rId291"/>
    <p:sldLayoutId id="2147487677" r:id="rId292"/>
    <p:sldLayoutId id="2147487679" r:id="rId293"/>
    <p:sldLayoutId id="2147487680" r:id="rId294"/>
    <p:sldLayoutId id="2147487681" r:id="rId295"/>
    <p:sldLayoutId id="2147487682" r:id="rId296"/>
    <p:sldLayoutId id="2147487683" r:id="rId297"/>
    <p:sldLayoutId id="2147487684" r:id="rId298"/>
    <p:sldLayoutId id="2147487685" r:id="rId299"/>
    <p:sldLayoutId id="2147487686" r:id="rId300"/>
    <p:sldLayoutId id="2147487687" r:id="rId301"/>
    <p:sldLayoutId id="2147487688" r:id="rId302"/>
    <p:sldLayoutId id="2147487689" r:id="rId303"/>
    <p:sldLayoutId id="2147487690" r:id="rId304"/>
    <p:sldLayoutId id="2147487691" r:id="rId305"/>
    <p:sldLayoutId id="2147487692" r:id="rId306"/>
    <p:sldLayoutId id="2147487693" r:id="rId307"/>
    <p:sldLayoutId id="2147487694" r:id="rId308"/>
    <p:sldLayoutId id="2147487695" r:id="rId309"/>
    <p:sldLayoutId id="2147487696" r:id="rId310"/>
    <p:sldLayoutId id="2147487697" r:id="rId311"/>
    <p:sldLayoutId id="2147487698" r:id="rId312"/>
    <p:sldLayoutId id="2147487699" r:id="rId313"/>
    <p:sldLayoutId id="2147487700" r:id="rId314"/>
    <p:sldLayoutId id="2147487701" r:id="rId315"/>
    <p:sldLayoutId id="2147487702" r:id="rId316"/>
    <p:sldLayoutId id="2147487703" r:id="rId317"/>
    <p:sldLayoutId id="2147487704" r:id="rId318"/>
    <p:sldLayoutId id="2147487705" r:id="rId319"/>
    <p:sldLayoutId id="2147487706" r:id="rId320"/>
    <p:sldLayoutId id="2147487707" r:id="rId321"/>
    <p:sldLayoutId id="2147487708" r:id="rId322"/>
    <p:sldLayoutId id="2147487709" r:id="rId323"/>
    <p:sldLayoutId id="2147487710" r:id="rId324"/>
    <p:sldLayoutId id="2147487711" r:id="rId325"/>
    <p:sldLayoutId id="2147487712" r:id="rId326"/>
    <p:sldLayoutId id="2147487713" r:id="rId327"/>
    <p:sldLayoutId id="2147487714" r:id="rId328"/>
    <p:sldLayoutId id="2147487715" r:id="rId329"/>
    <p:sldLayoutId id="2147487716" r:id="rId330"/>
    <p:sldLayoutId id="2147487717" r:id="rId331"/>
    <p:sldLayoutId id="2147487718" r:id="rId332"/>
    <p:sldLayoutId id="2147487719" r:id="rId333"/>
    <p:sldLayoutId id="2147487720" r:id="rId334"/>
    <p:sldLayoutId id="2147487721" r:id="rId335"/>
    <p:sldLayoutId id="2147487722" r:id="rId336"/>
    <p:sldLayoutId id="2147487723" r:id="rId337"/>
    <p:sldLayoutId id="2147487724" r:id="rId338"/>
    <p:sldLayoutId id="2147487725" r:id="rId339"/>
    <p:sldLayoutId id="2147487726" r:id="rId340"/>
    <p:sldLayoutId id="2147487727" r:id="rId341"/>
    <p:sldLayoutId id="2147487728" r:id="rId342"/>
    <p:sldLayoutId id="2147487729" r:id="rId343"/>
    <p:sldLayoutId id="2147487730" r:id="rId344"/>
    <p:sldLayoutId id="2147487731" r:id="rId345"/>
    <p:sldLayoutId id="2147487732" r:id="rId346"/>
    <p:sldLayoutId id="2147487733" r:id="rId347"/>
    <p:sldLayoutId id="2147487734" r:id="rId348"/>
    <p:sldLayoutId id="2147487735" r:id="rId349"/>
    <p:sldLayoutId id="2147487736" r:id="rId350"/>
    <p:sldLayoutId id="2147487737" r:id="rId351"/>
    <p:sldLayoutId id="2147487738" r:id="rId352"/>
    <p:sldLayoutId id="2147487739" r:id="rId353"/>
    <p:sldLayoutId id="2147487740" r:id="rId354"/>
    <p:sldLayoutId id="2147487741" r:id="rId355"/>
    <p:sldLayoutId id="2147487742" r:id="rId356"/>
    <p:sldLayoutId id="2147487743" r:id="rId357"/>
    <p:sldLayoutId id="2147487744" r:id="rId358"/>
    <p:sldLayoutId id="2147487745" r:id="rId359"/>
    <p:sldLayoutId id="2147487746" r:id="rId360"/>
    <p:sldLayoutId id="2147487747" r:id="rId361"/>
    <p:sldLayoutId id="2147487748" r:id="rId362"/>
    <p:sldLayoutId id="2147487749" r:id="rId363"/>
    <p:sldLayoutId id="2147487750" r:id="rId364"/>
    <p:sldLayoutId id="2147487751" r:id="rId365"/>
    <p:sldLayoutId id="2147487752" r:id="rId366"/>
    <p:sldLayoutId id="2147487753" r:id="rId367"/>
    <p:sldLayoutId id="2147487754" r:id="rId368"/>
    <p:sldLayoutId id="2147487755" r:id="rId369"/>
    <p:sldLayoutId id="2147487756" r:id="rId370"/>
    <p:sldLayoutId id="2147487757" r:id="rId371"/>
    <p:sldLayoutId id="2147487758" r:id="rId372"/>
    <p:sldLayoutId id="2147487759" r:id="rId373"/>
    <p:sldLayoutId id="2147487760" r:id="rId374"/>
    <p:sldLayoutId id="2147487761" r:id="rId375"/>
    <p:sldLayoutId id="2147487762" r:id="rId376"/>
    <p:sldLayoutId id="2147487763" r:id="rId377"/>
    <p:sldLayoutId id="2147487764" r:id="rId378"/>
    <p:sldLayoutId id="2147487765" r:id="rId379"/>
    <p:sldLayoutId id="2147487766" r:id="rId380"/>
    <p:sldLayoutId id="2147487767" r:id="rId381"/>
    <p:sldLayoutId id="2147487768" r:id="rId382"/>
    <p:sldLayoutId id="2147487769" r:id="rId383"/>
    <p:sldLayoutId id="2147487770" r:id="rId384"/>
    <p:sldLayoutId id="2147487771" r:id="rId385"/>
    <p:sldLayoutId id="2147487772" r:id="rId386"/>
    <p:sldLayoutId id="2147487773" r:id="rId387"/>
    <p:sldLayoutId id="2147487774" r:id="rId388"/>
    <p:sldLayoutId id="2147487775" r:id="rId389"/>
    <p:sldLayoutId id="2147487776" r:id="rId390"/>
    <p:sldLayoutId id="2147487777" r:id="rId391"/>
    <p:sldLayoutId id="2147487778" r:id="rId392"/>
    <p:sldLayoutId id="2147487779" r:id="rId393"/>
    <p:sldLayoutId id="2147487780" r:id="rId394"/>
    <p:sldLayoutId id="2147487781" r:id="rId395"/>
    <p:sldLayoutId id="2147487782" r:id="rId396"/>
    <p:sldLayoutId id="2147487783" r:id="rId397"/>
    <p:sldLayoutId id="2147487784" r:id="rId398"/>
    <p:sldLayoutId id="2147487785" r:id="rId399"/>
    <p:sldLayoutId id="2147487786" r:id="rId400"/>
    <p:sldLayoutId id="2147487787" r:id="rId401"/>
    <p:sldLayoutId id="2147487788" r:id="rId402"/>
    <p:sldLayoutId id="2147487789" r:id="rId403"/>
    <p:sldLayoutId id="2147487790" r:id="rId404"/>
    <p:sldLayoutId id="2147487791" r:id="rId405"/>
    <p:sldLayoutId id="2147487792" r:id="rId406"/>
    <p:sldLayoutId id="2147487793" r:id="rId407"/>
    <p:sldLayoutId id="2147487794" r:id="rId408"/>
    <p:sldLayoutId id="2147487795" r:id="rId409"/>
    <p:sldLayoutId id="2147487796" r:id="rId410"/>
    <p:sldLayoutId id="2147487797" r:id="rId411"/>
    <p:sldLayoutId id="2147487798" r:id="rId412"/>
    <p:sldLayoutId id="2147487799" r:id="rId413"/>
    <p:sldLayoutId id="2147487800" r:id="rId414"/>
    <p:sldLayoutId id="2147487801" r:id="rId415"/>
    <p:sldLayoutId id="2147487802" r:id="rId416"/>
    <p:sldLayoutId id="2147487803" r:id="rId417"/>
    <p:sldLayoutId id="2147487804" r:id="rId418"/>
    <p:sldLayoutId id="2147487805" r:id="rId419"/>
    <p:sldLayoutId id="2147487806" r:id="rId420"/>
    <p:sldLayoutId id="2147487807" r:id="rId421"/>
    <p:sldLayoutId id="2147487808" r:id="rId422"/>
    <p:sldLayoutId id="2147487809" r:id="rId423"/>
    <p:sldLayoutId id="2147487810" r:id="rId424"/>
    <p:sldLayoutId id="2147487811" r:id="rId425"/>
    <p:sldLayoutId id="2147487812" r:id="rId426"/>
    <p:sldLayoutId id="2147487813" r:id="rId427"/>
    <p:sldLayoutId id="2147487814" r:id="rId428"/>
    <p:sldLayoutId id="2147487815" r:id="rId429"/>
    <p:sldLayoutId id="2147487816" r:id="rId430"/>
    <p:sldLayoutId id="2147487817" r:id="rId431"/>
    <p:sldLayoutId id="2147487818" r:id="rId432"/>
    <p:sldLayoutId id="2147487819" r:id="rId433"/>
    <p:sldLayoutId id="2147487820" r:id="rId434"/>
    <p:sldLayoutId id="2147487821" r:id="rId435"/>
    <p:sldLayoutId id="2147487822" r:id="rId436"/>
    <p:sldLayoutId id="2147487823" r:id="rId437"/>
    <p:sldLayoutId id="2147487824" r:id="rId438"/>
    <p:sldLayoutId id="2147487825" r:id="rId439"/>
    <p:sldLayoutId id="2147487826" r:id="rId440"/>
    <p:sldLayoutId id="2147487827" r:id="rId441"/>
    <p:sldLayoutId id="2147487828" r:id="rId442"/>
    <p:sldLayoutId id="2147487829" r:id="rId443"/>
    <p:sldLayoutId id="2147487830" r:id="rId444"/>
    <p:sldLayoutId id="2147487831" r:id="rId445"/>
    <p:sldLayoutId id="2147487832" r:id="rId446"/>
    <p:sldLayoutId id="2147487833" r:id="rId447"/>
    <p:sldLayoutId id="2147487834" r:id="rId448"/>
    <p:sldLayoutId id="2147487835" r:id="rId449"/>
    <p:sldLayoutId id="2147487836" r:id="rId450"/>
    <p:sldLayoutId id="2147487843" r:id="rId451"/>
    <p:sldLayoutId id="2147487844" r:id="rId452"/>
    <p:sldLayoutId id="2147487845" r:id="rId453"/>
    <p:sldLayoutId id="2147487847" r:id="rId454"/>
    <p:sldLayoutId id="2147487848" r:id="rId455"/>
    <p:sldLayoutId id="2147487849" r:id="rId456"/>
    <p:sldLayoutId id="2147487850" r:id="rId457"/>
    <p:sldLayoutId id="2147487851" r:id="rId458"/>
    <p:sldLayoutId id="2147487852" r:id="rId459"/>
    <p:sldLayoutId id="2147487853" r:id="rId460"/>
    <p:sldLayoutId id="2147487854" r:id="rId461"/>
    <p:sldLayoutId id="2147487855" r:id="rId462"/>
    <p:sldLayoutId id="2147487856" r:id="rId463"/>
    <p:sldLayoutId id="2147487857" r:id="rId464"/>
    <p:sldLayoutId id="2147487858" r:id="rId465"/>
    <p:sldLayoutId id="2147487859" r:id="rId466"/>
    <p:sldLayoutId id="2147487860" r:id="rId467"/>
    <p:sldLayoutId id="2147487861" r:id="rId468"/>
    <p:sldLayoutId id="2147487862" r:id="rId469"/>
    <p:sldLayoutId id="2147487864" r:id="rId470"/>
    <p:sldLayoutId id="2147487865" r:id="rId471"/>
    <p:sldLayoutId id="2147487866" r:id="rId472"/>
    <p:sldLayoutId id="2147487867" r:id="rId473"/>
    <p:sldLayoutId id="2147487868" r:id="rId474"/>
    <p:sldLayoutId id="2147487869" r:id="rId475"/>
    <p:sldLayoutId id="2147487870" r:id="rId476"/>
    <p:sldLayoutId id="2147487871" r:id="rId477"/>
    <p:sldLayoutId id="2147487872" r:id="rId478"/>
    <p:sldLayoutId id="2147487873" r:id="rId479"/>
    <p:sldLayoutId id="2147487874" r:id="rId480"/>
    <p:sldLayoutId id="2147487875" r:id="rId481"/>
    <p:sldLayoutId id="2147487876" r:id="rId482"/>
    <p:sldLayoutId id="2147487877" r:id="rId483"/>
    <p:sldLayoutId id="2147487878" r:id="rId484"/>
    <p:sldLayoutId id="2147487879" r:id="rId485"/>
    <p:sldLayoutId id="2147487880" r:id="rId486"/>
    <p:sldLayoutId id="2147487881" r:id="rId487"/>
    <p:sldLayoutId id="2147487882" r:id="rId488"/>
    <p:sldLayoutId id="2147487883" r:id="rId489"/>
    <p:sldLayoutId id="2147487884" r:id="rId490"/>
    <p:sldLayoutId id="2147487885" r:id="rId491"/>
    <p:sldLayoutId id="2147487886" r:id="rId492"/>
    <p:sldLayoutId id="2147487887" r:id="rId493"/>
    <p:sldLayoutId id="2147487888" r:id="rId494"/>
    <p:sldLayoutId id="2147487889" r:id="rId495"/>
    <p:sldLayoutId id="2147487890" r:id="rId496"/>
    <p:sldLayoutId id="2147487891" r:id="rId497"/>
    <p:sldLayoutId id="2147487892" r:id="rId498"/>
    <p:sldLayoutId id="2147487893" r:id="rId499"/>
    <p:sldLayoutId id="2147487894" r:id="rId500"/>
    <p:sldLayoutId id="2147487895" r:id="rId501"/>
    <p:sldLayoutId id="2147487896" r:id="rId502"/>
    <p:sldLayoutId id="2147487897" r:id="rId503"/>
    <p:sldLayoutId id="2147487898" r:id="rId504"/>
    <p:sldLayoutId id="2147487899" r:id="rId505"/>
    <p:sldLayoutId id="2147487900" r:id="rId506"/>
    <p:sldLayoutId id="2147487901" r:id="rId507"/>
    <p:sldLayoutId id="2147487902" r:id="rId508"/>
    <p:sldLayoutId id="2147487903" r:id="rId509"/>
    <p:sldLayoutId id="2147487904" r:id="rId510"/>
    <p:sldLayoutId id="2147487905" r:id="rId511"/>
    <p:sldLayoutId id="2147487906" r:id="rId512"/>
    <p:sldLayoutId id="2147487907" r:id="rId513"/>
    <p:sldLayoutId id="2147487908" r:id="rId514"/>
    <p:sldLayoutId id="2147487909" r:id="rId515"/>
    <p:sldLayoutId id="2147487910" r:id="rId516"/>
    <p:sldLayoutId id="2147487911" r:id="rId517"/>
    <p:sldLayoutId id="2147487912" r:id="rId518"/>
    <p:sldLayoutId id="2147487913" r:id="rId519"/>
    <p:sldLayoutId id="2147487914" r:id="rId520"/>
    <p:sldLayoutId id="2147487915" r:id="rId521"/>
    <p:sldLayoutId id="2147487916" r:id="rId522"/>
    <p:sldLayoutId id="2147487917" r:id="rId523"/>
    <p:sldLayoutId id="2147487918" r:id="rId524"/>
    <p:sldLayoutId id="2147487919" r:id="rId525"/>
    <p:sldLayoutId id="2147487920" r:id="rId526"/>
    <p:sldLayoutId id="2147487921" r:id="rId527"/>
    <p:sldLayoutId id="2147487922" r:id="rId528"/>
    <p:sldLayoutId id="2147487923" r:id="rId529"/>
    <p:sldLayoutId id="2147487924" r:id="rId530"/>
    <p:sldLayoutId id="2147487925" r:id="rId531"/>
    <p:sldLayoutId id="2147487926" r:id="rId532"/>
    <p:sldLayoutId id="2147487927" r:id="rId533"/>
    <p:sldLayoutId id="2147487928" r:id="rId534"/>
    <p:sldLayoutId id="2147487929" r:id="rId535"/>
    <p:sldLayoutId id="2147487930" r:id="rId536"/>
    <p:sldLayoutId id="2147487931" r:id="rId537"/>
    <p:sldLayoutId id="2147487932" r:id="rId538"/>
    <p:sldLayoutId id="2147487933" r:id="rId539"/>
    <p:sldLayoutId id="2147487934" r:id="rId540"/>
    <p:sldLayoutId id="2147487935" r:id="rId541"/>
    <p:sldLayoutId id="2147487936" r:id="rId542"/>
    <p:sldLayoutId id="2147487937" r:id="rId543"/>
    <p:sldLayoutId id="2147487938" r:id="rId544"/>
    <p:sldLayoutId id="2147487939" r:id="rId545"/>
    <p:sldLayoutId id="2147487940" r:id="rId546"/>
    <p:sldLayoutId id="2147487941" r:id="rId547"/>
    <p:sldLayoutId id="2147487942" r:id="rId548"/>
    <p:sldLayoutId id="2147487943" r:id="rId549"/>
    <p:sldLayoutId id="2147487944" r:id="rId550"/>
    <p:sldLayoutId id="2147487945" r:id="rId551"/>
    <p:sldLayoutId id="2147487946" r:id="rId552"/>
    <p:sldLayoutId id="2147487947" r:id="rId553"/>
    <p:sldLayoutId id="2147487948" r:id="rId554"/>
    <p:sldLayoutId id="2147487949" r:id="rId555"/>
    <p:sldLayoutId id="2147487950" r:id="rId556"/>
    <p:sldLayoutId id="2147487951" r:id="rId557"/>
    <p:sldLayoutId id="2147487952" r:id="rId558"/>
    <p:sldLayoutId id="2147487953" r:id="rId559"/>
    <p:sldLayoutId id="2147487954" r:id="rId560"/>
    <p:sldLayoutId id="2147487955" r:id="rId561"/>
    <p:sldLayoutId id="2147487956" r:id="rId562"/>
    <p:sldLayoutId id="2147487957" r:id="rId563"/>
    <p:sldLayoutId id="2147487958" r:id="rId564"/>
    <p:sldLayoutId id="2147487959" r:id="rId565"/>
    <p:sldLayoutId id="2147487960" r:id="rId566"/>
    <p:sldLayoutId id="2147487961" r:id="rId567"/>
    <p:sldLayoutId id="2147487962" r:id="rId568"/>
    <p:sldLayoutId id="2147487963" r:id="rId569"/>
    <p:sldLayoutId id="2147487964" r:id="rId570"/>
    <p:sldLayoutId id="2147487965" r:id="rId571"/>
    <p:sldLayoutId id="2147487966" r:id="rId572"/>
    <p:sldLayoutId id="2147487967" r:id="rId573"/>
    <p:sldLayoutId id="2147487968" r:id="rId574"/>
    <p:sldLayoutId id="2147487969" r:id="rId575"/>
    <p:sldLayoutId id="2147487970" r:id="rId576"/>
    <p:sldLayoutId id="2147487971" r:id="rId577"/>
    <p:sldLayoutId id="2147487972" r:id="rId578"/>
    <p:sldLayoutId id="2147487973" r:id="rId579"/>
    <p:sldLayoutId id="2147487974" r:id="rId580"/>
    <p:sldLayoutId id="2147487975" r:id="rId581"/>
    <p:sldLayoutId id="2147487976" r:id="rId582"/>
    <p:sldLayoutId id="2147487977" r:id="rId583"/>
    <p:sldLayoutId id="2147487978" r:id="rId584"/>
    <p:sldLayoutId id="2147487979" r:id="rId585"/>
    <p:sldLayoutId id="2147487980" r:id="rId586"/>
    <p:sldLayoutId id="2147487981" r:id="rId587"/>
    <p:sldLayoutId id="2147487982" r:id="rId588"/>
    <p:sldLayoutId id="2147487983" r:id="rId589"/>
    <p:sldLayoutId id="2147487984" r:id="rId590"/>
    <p:sldLayoutId id="2147487985" r:id="rId591"/>
    <p:sldLayoutId id="2147487986" r:id="rId592"/>
    <p:sldLayoutId id="2147487987" r:id="rId593"/>
    <p:sldLayoutId id="2147487988" r:id="rId594"/>
    <p:sldLayoutId id="2147487989" r:id="rId595"/>
    <p:sldLayoutId id="2147487990" r:id="rId596"/>
    <p:sldLayoutId id="2147487991" r:id="rId597"/>
    <p:sldLayoutId id="2147487992" r:id="rId598"/>
    <p:sldLayoutId id="2147487993" r:id="rId599"/>
    <p:sldLayoutId id="2147487994" r:id="rId600"/>
    <p:sldLayoutId id="2147487995" r:id="rId601"/>
    <p:sldLayoutId id="2147487996" r:id="rId602"/>
    <p:sldLayoutId id="2147487997" r:id="rId603"/>
    <p:sldLayoutId id="2147487998" r:id="rId604"/>
    <p:sldLayoutId id="2147487999" r:id="rId605"/>
    <p:sldLayoutId id="2147488000" r:id="rId606"/>
    <p:sldLayoutId id="2147488001" r:id="rId607"/>
    <p:sldLayoutId id="2147488002" r:id="rId608"/>
    <p:sldLayoutId id="2147488003" r:id="rId609"/>
    <p:sldLayoutId id="2147488004" r:id="rId610"/>
    <p:sldLayoutId id="2147488005" r:id="rId611"/>
    <p:sldLayoutId id="2147488006" r:id="rId612"/>
    <p:sldLayoutId id="2147488007" r:id="rId613"/>
    <p:sldLayoutId id="2147488008" r:id="rId614"/>
    <p:sldLayoutId id="2147488009" r:id="rId615"/>
    <p:sldLayoutId id="2147488010" r:id="rId616"/>
    <p:sldLayoutId id="2147488011" r:id="rId617"/>
    <p:sldLayoutId id="2147488012" r:id="rId618"/>
    <p:sldLayoutId id="2147488013" r:id="rId619"/>
    <p:sldLayoutId id="2147488014" r:id="rId620"/>
    <p:sldLayoutId id="2147488015" r:id="rId621"/>
    <p:sldLayoutId id="2147488016" r:id="rId622"/>
    <p:sldLayoutId id="2147488017" r:id="rId623"/>
    <p:sldLayoutId id="2147488018" r:id="rId624"/>
    <p:sldLayoutId id="2147488019" r:id="rId625"/>
    <p:sldLayoutId id="2147488020" r:id="rId626"/>
    <p:sldLayoutId id="2147488021" r:id="rId627"/>
    <p:sldLayoutId id="2147488022" r:id="rId628"/>
    <p:sldLayoutId id="2147488023" r:id="rId629"/>
    <p:sldLayoutId id="2147488024" r:id="rId630"/>
    <p:sldLayoutId id="2147488025" r:id="rId631"/>
    <p:sldLayoutId id="2147488026" r:id="rId632"/>
    <p:sldLayoutId id="2147488027" r:id="rId633"/>
    <p:sldLayoutId id="2147488028" r:id="rId634"/>
    <p:sldLayoutId id="2147488029" r:id="rId635"/>
    <p:sldLayoutId id="2147488030" r:id="rId636"/>
    <p:sldLayoutId id="2147488031" r:id="rId637"/>
    <p:sldLayoutId id="2147488032" r:id="rId638"/>
    <p:sldLayoutId id="2147488033" r:id="rId639"/>
    <p:sldLayoutId id="2147488034" r:id="rId640"/>
    <p:sldLayoutId id="2147488035" r:id="rId641"/>
    <p:sldLayoutId id="2147488036" r:id="rId642"/>
    <p:sldLayoutId id="2147488037" r:id="rId643"/>
    <p:sldLayoutId id="2147488038" r:id="rId644"/>
    <p:sldLayoutId id="2147488039" r:id="rId645"/>
    <p:sldLayoutId id="2147488040" r:id="rId646"/>
    <p:sldLayoutId id="2147488041" r:id="rId647"/>
    <p:sldLayoutId id="2147488042" r:id="rId648"/>
    <p:sldLayoutId id="2147488043" r:id="rId649"/>
    <p:sldLayoutId id="2147488044" r:id="rId650"/>
    <p:sldLayoutId id="2147488045" r:id="rId651"/>
    <p:sldLayoutId id="2147488046" r:id="rId652"/>
    <p:sldLayoutId id="2147488047" r:id="rId653"/>
    <p:sldLayoutId id="2147488048" r:id="rId654"/>
    <p:sldLayoutId id="2147488049" r:id="rId655"/>
    <p:sldLayoutId id="2147488050" r:id="rId656"/>
    <p:sldLayoutId id="2147488051" r:id="rId657"/>
    <p:sldLayoutId id="2147488052" r:id="rId658"/>
    <p:sldLayoutId id="2147488053" r:id="rId659"/>
    <p:sldLayoutId id="2147488054" r:id="rId660"/>
    <p:sldLayoutId id="2147488055" r:id="rId661"/>
    <p:sldLayoutId id="2147488056" r:id="rId662"/>
    <p:sldLayoutId id="2147488057" r:id="rId663"/>
    <p:sldLayoutId id="2147488058" r:id="rId664"/>
    <p:sldLayoutId id="2147488059" r:id="rId665"/>
    <p:sldLayoutId id="2147488060" r:id="rId666"/>
    <p:sldLayoutId id="2147488061" r:id="rId667"/>
    <p:sldLayoutId id="2147488062" r:id="rId668"/>
    <p:sldLayoutId id="2147488063" r:id="rId669"/>
    <p:sldLayoutId id="2147488064" r:id="rId670"/>
    <p:sldLayoutId id="2147488065" r:id="rId671"/>
    <p:sldLayoutId id="2147488066" r:id="rId672"/>
    <p:sldLayoutId id="2147488067" r:id="rId673"/>
    <p:sldLayoutId id="2147488068" r:id="rId674"/>
    <p:sldLayoutId id="2147488069" r:id="rId675"/>
    <p:sldLayoutId id="2147488070" r:id="rId676"/>
    <p:sldLayoutId id="2147488071" r:id="rId677"/>
    <p:sldLayoutId id="2147488072" r:id="rId678"/>
    <p:sldLayoutId id="2147488073" r:id="rId679"/>
    <p:sldLayoutId id="2147488074" r:id="rId680"/>
    <p:sldLayoutId id="2147488075" r:id="rId681"/>
    <p:sldLayoutId id="2147488076" r:id="rId682"/>
    <p:sldLayoutId id="2147488077" r:id="rId683"/>
    <p:sldLayoutId id="2147488078" r:id="rId68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385.xml"/></Relationships>
</file>

<file path=ppt/slides/_rels/slide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hyperlink" Target="https://redcap.healthlnk.org" TargetMode="Externa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diagramLayout" Target="../diagrams/layout1.xml"/><Relationship Id="rId7" Type="http://schemas.openxmlformats.org/officeDocument/2006/relationships/image" Target="../media/image96.png"/><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99.svg"/><Relationship Id="rId4" Type="http://schemas.openxmlformats.org/officeDocument/2006/relationships/diagramQuickStyle" Target="../diagrams/quickStyle1.xml"/><Relationship Id="rId9" Type="http://schemas.openxmlformats.org/officeDocument/2006/relationships/image" Target="../media/image9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01.svg"/><Relationship Id="rId2" Type="http://schemas.openxmlformats.org/officeDocument/2006/relationships/image" Target="../media/image10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03.svg"/><Relationship Id="rId2" Type="http://schemas.openxmlformats.org/officeDocument/2006/relationships/image" Target="../media/image10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390.xml"/></Relationships>
</file>

<file path=ppt/slides/_rels/slide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hyperlink" Target="mailto:info@ilpqc.org"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hyperlink" Target="mailto:redcap@healthlnk.org" TargetMode="External"/><Relationship Id="rId2" Type="http://schemas.openxmlformats.org/officeDocument/2006/relationships/hyperlink" Target="https://redcap.healthlnk.org" TargetMode="External"/><Relationship Id="rId1" Type="http://schemas.openxmlformats.org/officeDocument/2006/relationships/slideLayout" Target="../slideLayouts/slideLayout5.xml"/><Relationship Id="rId5" Type="http://schemas.openxmlformats.org/officeDocument/2006/relationships/image" Target="../media/image92.png"/><Relationship Id="rId4" Type="http://schemas.openxmlformats.org/officeDocument/2006/relationships/hyperlink" Target="mailto:info@ilpqc.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023261" y="1903320"/>
            <a:ext cx="6404329" cy="2618177"/>
          </a:xfrm>
        </p:spPr>
        <p:txBody>
          <a:bodyPr/>
          <a:lstStyle/>
          <a:p>
            <a:pPr algn="ctr"/>
            <a:r>
              <a:rPr lang="en-US" dirty="0">
                <a:solidFill>
                  <a:schemeClr val="accent1"/>
                </a:solidFill>
                <a:ea typeface="+mj-lt"/>
                <a:cs typeface="+mj-lt"/>
              </a:rPr>
              <a:t>ESSI Initiative:</a:t>
            </a:r>
            <a:r>
              <a:rPr lang="en-US" dirty="0">
                <a:ea typeface="+mj-lt"/>
                <a:cs typeface="+mj-lt"/>
              </a:rPr>
              <a:t> </a:t>
            </a:r>
            <a:br>
              <a:rPr lang="en-US" dirty="0">
                <a:ea typeface="+mj-lt"/>
                <a:cs typeface="+mj-lt"/>
              </a:rPr>
            </a:br>
            <a:r>
              <a:rPr lang="en-US" dirty="0">
                <a:ea typeface="+mj-lt"/>
                <a:cs typeface="+mj-lt"/>
              </a:rPr>
              <a:t>Data Training Webinar</a:t>
            </a:r>
            <a:br>
              <a:rPr lang="en-US" sz="3600" dirty="0">
                <a:ea typeface="+mj-lt"/>
                <a:cs typeface="+mj-lt"/>
              </a:rPr>
            </a:br>
            <a:endParaRPr lang="en-US" sz="3600" b="0">
              <a:cs typeface="Calibri"/>
            </a:endParaRPr>
          </a:p>
        </p:txBody>
      </p:sp>
      <p:pic>
        <p:nvPicPr>
          <p:cNvPr id="2" name="Picture 1" descr="Simple computer illustration">
            <a:extLst>
              <a:ext uri="{FF2B5EF4-FFF2-40B4-BE49-F238E27FC236}">
                <a16:creationId xmlns:a16="http://schemas.microsoft.com/office/drawing/2014/main" id="{0D7C69D0-240C-8322-D521-66F461EE341B}"/>
              </a:ext>
            </a:extLst>
          </p:cNvPr>
          <p:cNvPicPr>
            <a:picLocks noChangeAspect="1"/>
          </p:cNvPicPr>
          <p:nvPr/>
        </p:nvPicPr>
        <p:blipFill>
          <a:blip r:embed="rId2"/>
          <a:srcRect t="6908" b="6908"/>
          <a:stretch>
            <a:fillRect/>
          </a:stretch>
        </p:blipFill>
        <p:spPr>
          <a:xfrm>
            <a:off x="7283571" y="1815347"/>
            <a:ext cx="4425350" cy="2896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515724" y="3973463"/>
            <a:ext cx="5426907"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dirty="0">
                <a:ea typeface="+mn-lt"/>
                <a:cs typeface="+mn-lt"/>
              </a:rPr>
              <a:t> 12:00pm</a:t>
            </a:r>
            <a:endParaRPr lang="en-US"/>
          </a:p>
        </p:txBody>
      </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1A95671B-3CC6-4792-9114-B74FAEA224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C85E68-E425-25E8-B412-38FE57A548E8}"/>
              </a:ext>
            </a:extLst>
          </p:cNvPr>
          <p:cNvSpPr>
            <a:spLocks noGrp="1"/>
          </p:cNvSpPr>
          <p:nvPr>
            <p:ph type="title"/>
          </p:nvPr>
        </p:nvSpPr>
        <p:spPr>
          <a:xfrm>
            <a:off x="1008184" y="174032"/>
            <a:ext cx="10175631" cy="1111843"/>
          </a:xfrm>
        </p:spPr>
        <p:txBody>
          <a:bodyPr anchor="ctr">
            <a:normAutofit/>
          </a:bodyPr>
          <a:lstStyle/>
          <a:p>
            <a:pPr algn="ctr"/>
            <a:r>
              <a:rPr lang="en-US" sz="4000" dirty="0" err="1">
                <a:ea typeface="Lato Medium"/>
                <a:cs typeface="Lato Medium"/>
              </a:rPr>
              <a:t>REDCap</a:t>
            </a:r>
            <a:r>
              <a:rPr lang="en-US" sz="4000" dirty="0">
                <a:ea typeface="Lato Medium"/>
                <a:cs typeface="Lato Medium"/>
              </a:rPr>
              <a:t> Interface Overview</a:t>
            </a:r>
          </a:p>
        </p:txBody>
      </p:sp>
      <p:sp>
        <p:nvSpPr>
          <p:cNvPr id="3" name="Content Placeholder 2">
            <a:extLst>
              <a:ext uri="{FF2B5EF4-FFF2-40B4-BE49-F238E27FC236}">
                <a16:creationId xmlns:a16="http://schemas.microsoft.com/office/drawing/2014/main" id="{34B6AF32-4323-7B5C-9857-C6582CF10CDF}"/>
              </a:ext>
            </a:extLst>
          </p:cNvPr>
          <p:cNvSpPr>
            <a:spLocks noGrp="1"/>
          </p:cNvSpPr>
          <p:nvPr>
            <p:ph idx="1"/>
          </p:nvPr>
        </p:nvSpPr>
        <p:spPr>
          <a:xfrm>
            <a:off x="1008184" y="1459907"/>
            <a:ext cx="10175630" cy="767904"/>
          </a:xfrm>
        </p:spPr>
        <p:txBody>
          <a:bodyPr vert="horz" lIns="91440" tIns="45720" rIns="91440" bIns="45720" rtlCol="0" anchor="ctr">
            <a:normAutofit/>
          </a:bodyPr>
          <a:lstStyle/>
          <a:p>
            <a:pPr marL="0" indent="0" algn="ctr">
              <a:buNone/>
            </a:pPr>
            <a:r>
              <a:rPr lang="en-US" sz="2800" dirty="0" err="1">
                <a:ea typeface="+mn-lt"/>
                <a:cs typeface="+mn-lt"/>
              </a:rPr>
              <a:t>REDCap</a:t>
            </a:r>
            <a:r>
              <a:rPr lang="en-US" sz="2800" dirty="0">
                <a:ea typeface="+mn-lt"/>
                <a:cs typeface="+mn-lt"/>
              </a:rPr>
              <a:t> Log In Page </a:t>
            </a:r>
            <a:r>
              <a:rPr lang="en-US" sz="2800" dirty="0">
                <a:ea typeface="+mn-lt"/>
                <a:cs typeface="+mn-lt"/>
                <a:hlinkClick r:id="rId2"/>
              </a:rPr>
              <a:t>https://redcap.healthlnk.org</a:t>
            </a:r>
            <a:endParaRPr lang="en-US" sz="2800" dirty="0"/>
          </a:p>
        </p:txBody>
      </p:sp>
      <p:pic>
        <p:nvPicPr>
          <p:cNvPr id="6" name="Picture 5" descr="A screenshot of a login box&#10;&#10;Description automatically generated">
            <a:extLst>
              <a:ext uri="{FF2B5EF4-FFF2-40B4-BE49-F238E27FC236}">
                <a16:creationId xmlns:a16="http://schemas.microsoft.com/office/drawing/2014/main" id="{34AF0CA7-50BF-675D-7E8F-BB046F8A7472}"/>
              </a:ext>
            </a:extLst>
          </p:cNvPr>
          <p:cNvPicPr>
            <a:picLocks noChangeAspect="1"/>
          </p:cNvPicPr>
          <p:nvPr/>
        </p:nvPicPr>
        <p:blipFill>
          <a:blip r:embed="rId3"/>
          <a:stretch>
            <a:fillRect/>
          </a:stretch>
        </p:blipFill>
        <p:spPr>
          <a:xfrm>
            <a:off x="1003899" y="2160734"/>
            <a:ext cx="10508782" cy="4632638"/>
          </a:xfrm>
          <a:prstGeom prst="rect">
            <a:avLst/>
          </a:prstGeom>
        </p:spPr>
      </p:pic>
      <p:sp>
        <p:nvSpPr>
          <p:cNvPr id="5" name="Footer Placeholder 4">
            <a:extLst>
              <a:ext uri="{FF2B5EF4-FFF2-40B4-BE49-F238E27FC236}">
                <a16:creationId xmlns:a16="http://schemas.microsoft.com/office/drawing/2014/main" id="{445DA9CE-D94D-1338-0208-AABBD67843FD}"/>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731D407B-9DCA-7CFB-384C-930FEA6C9655}"/>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10</a:t>
            </a:fld>
            <a:endParaRPr lang="en-US"/>
          </a:p>
        </p:txBody>
      </p:sp>
    </p:spTree>
    <p:extLst>
      <p:ext uri="{BB962C8B-B14F-4D97-AF65-F5344CB8AC3E}">
        <p14:creationId xmlns:p14="http://schemas.microsoft.com/office/powerpoint/2010/main" val="1190154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9FA61-332B-9147-CBEF-669C83839D2A}"/>
              </a:ext>
            </a:extLst>
          </p:cNvPr>
          <p:cNvSpPr>
            <a:spLocks noGrp="1"/>
          </p:cNvSpPr>
          <p:nvPr>
            <p:ph type="title"/>
          </p:nvPr>
        </p:nvSpPr>
        <p:spPr>
          <a:noFill/>
        </p:spPr>
        <p:txBody>
          <a:bodyPr/>
          <a:lstStyle/>
          <a:p>
            <a:r>
              <a:rPr lang="en-US" err="1">
                <a:ea typeface="Lato Medium"/>
                <a:cs typeface="Lato Medium"/>
              </a:rPr>
              <a:t>REDCap</a:t>
            </a:r>
            <a:r>
              <a:rPr lang="en-US" dirty="0">
                <a:ea typeface="Lato Medium"/>
                <a:cs typeface="Lato Medium"/>
              </a:rPr>
              <a:t> Interface Overview</a:t>
            </a:r>
          </a:p>
        </p:txBody>
      </p:sp>
      <p:pic>
        <p:nvPicPr>
          <p:cNvPr id="6" name="Content Placeholder 5" descr="A screenshot of a web page&#10;&#10;Description automatically generated">
            <a:extLst>
              <a:ext uri="{FF2B5EF4-FFF2-40B4-BE49-F238E27FC236}">
                <a16:creationId xmlns:a16="http://schemas.microsoft.com/office/drawing/2014/main" id="{AA0A5014-B86C-03A4-2B39-1218D9BF9424}"/>
              </a:ext>
            </a:extLst>
          </p:cNvPr>
          <p:cNvPicPr>
            <a:picLocks noGrp="1" noChangeAspect="1"/>
          </p:cNvPicPr>
          <p:nvPr>
            <p:ph idx="1"/>
          </p:nvPr>
        </p:nvPicPr>
        <p:blipFill>
          <a:blip r:embed="rId2"/>
          <a:stretch>
            <a:fillRect/>
          </a:stretch>
        </p:blipFill>
        <p:spPr>
          <a:xfrm>
            <a:off x="670735" y="1609965"/>
            <a:ext cx="7888795" cy="4351338"/>
          </a:xfrm>
        </p:spPr>
      </p:pic>
      <p:sp>
        <p:nvSpPr>
          <p:cNvPr id="4" name="Slide Number Placeholder 3">
            <a:extLst>
              <a:ext uri="{FF2B5EF4-FFF2-40B4-BE49-F238E27FC236}">
                <a16:creationId xmlns:a16="http://schemas.microsoft.com/office/drawing/2014/main" id="{7C79C743-6E25-FC32-2347-F776ACBD1518}"/>
              </a:ext>
            </a:extLst>
          </p:cNvPr>
          <p:cNvSpPr>
            <a:spLocks noGrp="1"/>
          </p:cNvSpPr>
          <p:nvPr>
            <p:ph type="sldNum" sz="quarter" idx="10"/>
          </p:nvPr>
        </p:nvSpPr>
        <p:spPr/>
        <p:txBody>
          <a:bodyPr/>
          <a:lstStyle/>
          <a:p>
            <a:fld id="{97033E4B-E3EB-3D46-B2D8-3159663620FA}" type="slidenum">
              <a:rPr lang="en-US" smtClean="0"/>
              <a:pPr/>
              <a:t>11</a:t>
            </a:fld>
            <a:endParaRPr lang="en-US"/>
          </a:p>
        </p:txBody>
      </p:sp>
      <p:sp>
        <p:nvSpPr>
          <p:cNvPr id="5" name="Footer Placeholder 4">
            <a:extLst>
              <a:ext uri="{FF2B5EF4-FFF2-40B4-BE49-F238E27FC236}">
                <a16:creationId xmlns:a16="http://schemas.microsoft.com/office/drawing/2014/main" id="{1F0A07CE-6EF3-579E-D056-6D03569832F8}"/>
              </a:ext>
            </a:extLst>
          </p:cNvPr>
          <p:cNvSpPr>
            <a:spLocks noGrp="1"/>
          </p:cNvSpPr>
          <p:nvPr>
            <p:ph type="ftr" sz="quarter" idx="11"/>
          </p:nvPr>
        </p:nvSpPr>
        <p:spPr/>
        <p:txBody>
          <a:bodyPr/>
          <a:lstStyle/>
          <a:p>
            <a:pPr algn="l"/>
            <a:r>
              <a:rPr lang="en-US"/>
              <a:t>Illinois Perinatal Quality Collaborative</a:t>
            </a:r>
          </a:p>
        </p:txBody>
      </p:sp>
      <p:sp>
        <p:nvSpPr>
          <p:cNvPr id="7" name="Oval 6">
            <a:extLst>
              <a:ext uri="{FF2B5EF4-FFF2-40B4-BE49-F238E27FC236}">
                <a16:creationId xmlns:a16="http://schemas.microsoft.com/office/drawing/2014/main" id="{AE61B84F-62BA-9F35-1E68-ADB14A45DC6E}"/>
              </a:ext>
            </a:extLst>
          </p:cNvPr>
          <p:cNvSpPr/>
          <p:nvPr/>
        </p:nvSpPr>
        <p:spPr>
          <a:xfrm>
            <a:off x="1917221" y="1498929"/>
            <a:ext cx="1480868" cy="632604"/>
          </a:xfrm>
          <a:prstGeom prst="ellipse">
            <a:avLst/>
          </a:prstGeom>
          <a:noFill/>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7566752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Content Placeholder 5" descr="A screenshot of a computer screen&#10;&#10;Description automatically generated">
            <a:extLst>
              <a:ext uri="{FF2B5EF4-FFF2-40B4-BE49-F238E27FC236}">
                <a16:creationId xmlns:a16="http://schemas.microsoft.com/office/drawing/2014/main" id="{5C4A6469-2D7A-B4A3-0937-8008F2A6F29A}"/>
              </a:ext>
            </a:extLst>
          </p:cNvPr>
          <p:cNvPicPr>
            <a:picLocks noGrp="1" noChangeAspect="1"/>
          </p:cNvPicPr>
          <p:nvPr>
            <p:ph idx="1"/>
          </p:nvPr>
        </p:nvPicPr>
        <p:blipFill rotWithShape="1">
          <a:blip r:embed="rId2"/>
          <a:srcRect r="4446" b="1"/>
          <a:stretch/>
        </p:blipFill>
        <p:spPr>
          <a:xfrm>
            <a:off x="20" y="10"/>
            <a:ext cx="12191980" cy="6857990"/>
          </a:xfrm>
          <a:prstGeom prst="rect">
            <a:avLst/>
          </a:prstGeom>
        </p:spPr>
      </p:pic>
      <p:sp>
        <p:nvSpPr>
          <p:cNvPr id="11" name="Rectangle 10">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6235EBB-D9A1-2612-4FF2-345127488ED5}"/>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lnSpc>
                <a:spcPct val="90000"/>
              </a:lnSpc>
            </a:pPr>
            <a:r>
              <a:rPr lang="en-US" dirty="0">
                <a:ea typeface="+mj-ea"/>
                <a:cs typeface="+mj-cs"/>
              </a:rPr>
              <a:t>Participating in multiple ILPQC Initiatives?</a:t>
            </a:r>
            <a:endParaRPr lang="en-US" dirty="0">
              <a:ea typeface="Calibri"/>
              <a:cs typeface="Calibri"/>
            </a:endParaRPr>
          </a:p>
        </p:txBody>
      </p:sp>
      <p:cxnSp>
        <p:nvCxnSpPr>
          <p:cNvPr id="13" name="Straight Connector 12">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7EBF76B5-564B-1605-AA62-4B457995CC4B}"/>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defTabSz="457200">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FD0B2B5C-5571-4663-8425-BE77F226F2A5}"/>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defTabSz="457200">
              <a:spcAft>
                <a:spcPts val="600"/>
              </a:spcAft>
            </a:pPr>
            <a:fld id="{97033E4B-E3EB-3D46-B2D8-3159663620FA}" type="slidenum">
              <a:rPr lang="en-US">
                <a:solidFill>
                  <a:srgbClr val="FFFFFF"/>
                </a:solidFill>
              </a:rPr>
              <a:pPr defTabSz="457200">
                <a:spcAft>
                  <a:spcPts val="600"/>
                </a:spcAft>
              </a:pPr>
              <a:t>12</a:t>
            </a:fld>
            <a:endParaRPr lang="en-US">
              <a:solidFill>
                <a:srgbClr val="FFFFFF"/>
              </a:solidFill>
            </a:endParaRPr>
          </a:p>
        </p:txBody>
      </p:sp>
    </p:spTree>
    <p:extLst>
      <p:ext uri="{BB962C8B-B14F-4D97-AF65-F5344CB8AC3E}">
        <p14:creationId xmlns:p14="http://schemas.microsoft.com/office/powerpoint/2010/main" val="1323624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25AA4-4B7A-BEC8-4E8D-ADD4200530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BED8CA-F754-E03C-D9CA-FEC2EE4D194D}"/>
              </a:ext>
            </a:extLst>
          </p:cNvPr>
          <p:cNvSpPr>
            <a:spLocks noGrp="1"/>
          </p:cNvSpPr>
          <p:nvPr>
            <p:ph type="title"/>
          </p:nvPr>
        </p:nvSpPr>
        <p:spPr>
          <a:xfrm>
            <a:off x="1398933" y="831145"/>
            <a:ext cx="9365380" cy="2014679"/>
          </a:xfrm>
        </p:spPr>
        <p:txBody>
          <a:bodyPr/>
          <a:lstStyle/>
          <a:p>
            <a:r>
              <a:rPr lang="en-US" dirty="0">
                <a:solidFill>
                  <a:srgbClr val="1C498B"/>
                </a:solidFill>
                <a:ea typeface="+mj-lt"/>
                <a:cs typeface="+mj-lt"/>
              </a:rPr>
              <a:t>ILPQC ESSI DATA FORMS OVERVIEW</a:t>
            </a:r>
            <a:endParaRPr lang="en-US" dirty="0"/>
          </a:p>
        </p:txBody>
      </p:sp>
      <p:sp>
        <p:nvSpPr>
          <p:cNvPr id="3" name="Subtitle 2">
            <a:extLst>
              <a:ext uri="{FF2B5EF4-FFF2-40B4-BE49-F238E27FC236}">
                <a16:creationId xmlns:a16="http://schemas.microsoft.com/office/drawing/2014/main" id="{745EDF40-9CE2-84AF-D1E4-349419FA3329}"/>
              </a:ext>
            </a:extLst>
          </p:cNvPr>
          <p:cNvSpPr>
            <a:spLocks noGrp="1"/>
          </p:cNvSpPr>
          <p:nvPr>
            <p:ph type="subTitle" idx="1"/>
          </p:nvPr>
        </p:nvSpPr>
        <p:spPr/>
        <p:txBody>
          <a:bodyPr vert="horz" lIns="91440" tIns="45720" rIns="91440" bIns="45720" rtlCol="0" anchor="t">
            <a:noAutofit/>
          </a:bodyPr>
          <a:lstStyle/>
          <a:p>
            <a:endParaRPr lang="en-US" dirty="0"/>
          </a:p>
        </p:txBody>
      </p:sp>
      <p:sp>
        <p:nvSpPr>
          <p:cNvPr id="4" name="TextBox 3">
            <a:extLst>
              <a:ext uri="{FF2B5EF4-FFF2-40B4-BE49-F238E27FC236}">
                <a16:creationId xmlns:a16="http://schemas.microsoft.com/office/drawing/2014/main" id="{F6DC84FD-DFEE-DC99-8F44-2B1041465162}"/>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1648191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ea typeface="Lato Medium"/>
                <a:cs typeface="Lato Medium"/>
              </a:rPr>
              <a:t> Two ESSI Data Forms</a:t>
            </a:r>
            <a:endParaRPr lang="en-US" dirty="0"/>
          </a:p>
        </p:txBody>
      </p:sp>
      <p:graphicFrame>
        <p:nvGraphicFramePr>
          <p:cNvPr id="7" name="Content Placeholder 2">
            <a:extLst>
              <a:ext uri="{FF2B5EF4-FFF2-40B4-BE49-F238E27FC236}">
                <a16:creationId xmlns:a16="http://schemas.microsoft.com/office/drawing/2014/main" id="{D93EF601-CA84-ECB1-08DF-C8BAEC274FE9}"/>
              </a:ext>
            </a:extLst>
          </p:cNvPr>
          <p:cNvGraphicFramePr>
            <a:graphicFrameLocks noGrp="1"/>
          </p:cNvGraphicFramePr>
          <p:nvPr>
            <p:ph idx="1"/>
          </p:nvPr>
        </p:nvGraphicFramePr>
        <p:xfrm>
          <a:off x="609600" y="1544774"/>
          <a:ext cx="10972800" cy="4811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46" name="Graphic 45" descr="Hospital with solid fill">
            <a:extLst>
              <a:ext uri="{FF2B5EF4-FFF2-40B4-BE49-F238E27FC236}">
                <a16:creationId xmlns:a16="http://schemas.microsoft.com/office/drawing/2014/main" id="{5E04828F-545E-7B88-1CDE-A6B8BD1213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7328" y="1548442"/>
            <a:ext cx="914400" cy="914400"/>
          </a:xfrm>
          <a:prstGeom prst="rect">
            <a:avLst/>
          </a:prstGeom>
        </p:spPr>
      </p:pic>
      <p:pic>
        <p:nvPicPr>
          <p:cNvPr id="47" name="Graphic 46" descr="Baby with solid fill">
            <a:extLst>
              <a:ext uri="{FF2B5EF4-FFF2-40B4-BE49-F238E27FC236}">
                <a16:creationId xmlns:a16="http://schemas.microsoft.com/office/drawing/2014/main" id="{C13E9A9E-F1C1-0883-4F89-871783B27D2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72687" y="1591574"/>
            <a:ext cx="914400" cy="914400"/>
          </a:xfrm>
          <a:prstGeom prst="rect">
            <a:avLst/>
          </a:prstGeom>
        </p:spPr>
      </p:pic>
    </p:spTree>
    <p:extLst>
      <p:ext uri="{BB962C8B-B14F-4D97-AF65-F5344CB8AC3E}">
        <p14:creationId xmlns:p14="http://schemas.microsoft.com/office/powerpoint/2010/main" val="27017601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96CCD-346E-ACCB-3B41-54198AC298C3}"/>
              </a:ext>
            </a:extLst>
          </p:cNvPr>
          <p:cNvSpPr>
            <a:spLocks noGrp="1"/>
          </p:cNvSpPr>
          <p:nvPr>
            <p:ph type="title"/>
          </p:nvPr>
        </p:nvSpPr>
        <p:spPr/>
        <p:txBody>
          <a:bodyPr/>
          <a:lstStyle/>
          <a:p>
            <a:r>
              <a:rPr lang="en-US">
                <a:ea typeface="Lato Medium"/>
                <a:cs typeface="Lato Medium"/>
              </a:rPr>
              <a:t>Structure Measures</a:t>
            </a:r>
            <a:endParaRPr lang="en-US"/>
          </a:p>
        </p:txBody>
      </p:sp>
      <p:sp>
        <p:nvSpPr>
          <p:cNvPr id="3" name="Content Placeholder 2">
            <a:extLst>
              <a:ext uri="{FF2B5EF4-FFF2-40B4-BE49-F238E27FC236}">
                <a16:creationId xmlns:a16="http://schemas.microsoft.com/office/drawing/2014/main" id="{3D116CC5-783C-05ED-E59D-C20917A3F977}"/>
              </a:ext>
            </a:extLst>
          </p:cNvPr>
          <p:cNvSpPr>
            <a:spLocks noGrp="1"/>
          </p:cNvSpPr>
          <p:nvPr>
            <p:ph idx="1"/>
          </p:nvPr>
        </p:nvSpPr>
        <p:spPr>
          <a:xfrm>
            <a:off x="609600" y="1527969"/>
            <a:ext cx="10972800" cy="4351338"/>
          </a:xfrm>
        </p:spPr>
        <p:txBody>
          <a:bodyPr vert="horz" lIns="91440" tIns="45720" rIns="91440" bIns="45720" rtlCol="0" anchor="t">
            <a:noAutofit/>
          </a:bodyPr>
          <a:lstStyle/>
          <a:p>
            <a:r>
              <a:rPr lang="en-US" sz="2800">
                <a:ea typeface="+mn-lt"/>
                <a:cs typeface="+mn-lt"/>
              </a:rPr>
              <a:t>Structure measures are used to assess infrastructure of </a:t>
            </a:r>
            <a:r>
              <a:rPr lang="en-US" sz="2800" b="1" u="sng">
                <a:ea typeface="+mn-lt"/>
                <a:cs typeface="+mn-lt"/>
              </a:rPr>
              <a:t>capacity, systems, and processes</a:t>
            </a:r>
            <a:r>
              <a:rPr lang="en-US" sz="2800">
                <a:ea typeface="+mn-lt"/>
                <a:cs typeface="+mn-lt"/>
              </a:rPr>
              <a:t> (cms.gov)</a:t>
            </a:r>
          </a:p>
          <a:p>
            <a:endParaRPr lang="en-US" sz="2800" dirty="0">
              <a:ea typeface="+mn-lt"/>
              <a:cs typeface="+mn-lt"/>
            </a:endParaRPr>
          </a:p>
          <a:p>
            <a:endParaRPr lang="en-US" dirty="0">
              <a:ea typeface="+mn-lt"/>
              <a:cs typeface="+mn-lt"/>
            </a:endParaRPr>
          </a:p>
        </p:txBody>
      </p:sp>
      <p:sp>
        <p:nvSpPr>
          <p:cNvPr id="4" name="Slide Number Placeholder 3">
            <a:extLst>
              <a:ext uri="{FF2B5EF4-FFF2-40B4-BE49-F238E27FC236}">
                <a16:creationId xmlns:a16="http://schemas.microsoft.com/office/drawing/2014/main" id="{A36A6B9B-288F-F01B-2932-86AF39CBB43C}"/>
              </a:ext>
            </a:extLst>
          </p:cNvPr>
          <p:cNvSpPr>
            <a:spLocks noGrp="1"/>
          </p:cNvSpPr>
          <p:nvPr>
            <p:ph type="sldNum" sz="quarter" idx="10"/>
          </p:nvPr>
        </p:nvSpPr>
        <p:spPr/>
        <p:txBody>
          <a:bodyPr/>
          <a:lstStyle/>
          <a:p>
            <a:fld id="{97033E4B-E3EB-3D46-B2D8-3159663620FA}" type="slidenum">
              <a:rPr lang="en-US" smtClean="0"/>
              <a:pPr/>
              <a:t>15</a:t>
            </a:fld>
            <a:endParaRPr lang="en-US"/>
          </a:p>
        </p:txBody>
      </p:sp>
      <p:sp>
        <p:nvSpPr>
          <p:cNvPr id="5" name="Footer Placeholder 4">
            <a:extLst>
              <a:ext uri="{FF2B5EF4-FFF2-40B4-BE49-F238E27FC236}">
                <a16:creationId xmlns:a16="http://schemas.microsoft.com/office/drawing/2014/main" id="{8D23656F-9268-03B9-7F42-41456B8B7744}"/>
              </a:ext>
            </a:extLst>
          </p:cNvPr>
          <p:cNvSpPr>
            <a:spLocks noGrp="1"/>
          </p:cNvSpPr>
          <p:nvPr>
            <p:ph type="ftr" sz="quarter" idx="11"/>
          </p:nvPr>
        </p:nvSpPr>
        <p:spPr/>
        <p:txBody>
          <a:bodyPr/>
          <a:lstStyle/>
          <a:p>
            <a:pPr algn="l"/>
            <a:r>
              <a:rPr lang="en-US"/>
              <a:t>Illinois Perinatal Quality Collaborative</a:t>
            </a:r>
          </a:p>
        </p:txBody>
      </p:sp>
      <p:sp>
        <p:nvSpPr>
          <p:cNvPr id="6" name="Rectangle 5">
            <a:extLst>
              <a:ext uri="{FF2B5EF4-FFF2-40B4-BE49-F238E27FC236}">
                <a16:creationId xmlns:a16="http://schemas.microsoft.com/office/drawing/2014/main" id="{624E5E16-C2C8-3E70-D60F-7779039D5D3F}"/>
              </a:ext>
            </a:extLst>
          </p:cNvPr>
          <p:cNvSpPr/>
          <p:nvPr/>
        </p:nvSpPr>
        <p:spPr>
          <a:xfrm>
            <a:off x="1947033" y="2651278"/>
            <a:ext cx="2789207" cy="2300377"/>
          </a:xfrm>
          <a:prstGeom prst="rect">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a:ea typeface="Calibri"/>
                <a:cs typeface="Calibri"/>
              </a:rPr>
              <a:t>Structural Change </a:t>
            </a:r>
            <a:endParaRPr lang="en-US" sz="4000"/>
          </a:p>
        </p:txBody>
      </p:sp>
      <p:sp>
        <p:nvSpPr>
          <p:cNvPr id="8" name="Rectangle 7">
            <a:extLst>
              <a:ext uri="{FF2B5EF4-FFF2-40B4-BE49-F238E27FC236}">
                <a16:creationId xmlns:a16="http://schemas.microsoft.com/office/drawing/2014/main" id="{1AC53495-722C-9B2E-6443-ACD63887CC51}"/>
              </a:ext>
            </a:extLst>
          </p:cNvPr>
          <p:cNvSpPr/>
          <p:nvPr/>
        </p:nvSpPr>
        <p:spPr>
          <a:xfrm>
            <a:off x="7017299" y="2651278"/>
            <a:ext cx="2789207" cy="2300377"/>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4000">
                <a:ea typeface="Calibri"/>
                <a:cs typeface="Calibri"/>
              </a:rPr>
              <a:t>Clinical Culture Change </a:t>
            </a:r>
          </a:p>
        </p:txBody>
      </p:sp>
      <p:sp>
        <p:nvSpPr>
          <p:cNvPr id="9" name="Arrow: Right 8">
            <a:extLst>
              <a:ext uri="{FF2B5EF4-FFF2-40B4-BE49-F238E27FC236}">
                <a16:creationId xmlns:a16="http://schemas.microsoft.com/office/drawing/2014/main" id="{81BF1FA0-2540-FD9B-D2A5-56A7EF7EEB4D}"/>
              </a:ext>
            </a:extLst>
          </p:cNvPr>
          <p:cNvSpPr/>
          <p:nvPr/>
        </p:nvSpPr>
        <p:spPr>
          <a:xfrm>
            <a:off x="5056729" y="3313412"/>
            <a:ext cx="1854679" cy="97766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5BDCD7E9-0895-8935-4DB8-19819607476B}"/>
              </a:ext>
            </a:extLst>
          </p:cNvPr>
          <p:cNvSpPr/>
          <p:nvPr/>
        </p:nvSpPr>
        <p:spPr>
          <a:xfrm>
            <a:off x="2479476" y="5232797"/>
            <a:ext cx="7334249" cy="940593"/>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cs typeface="Calibri"/>
              </a:rPr>
              <a:t>As this point, we expect that most structure measures will be in the NOT STARTED category</a:t>
            </a:r>
          </a:p>
        </p:txBody>
      </p:sp>
    </p:spTree>
    <p:extLst>
      <p:ext uri="{BB962C8B-B14F-4D97-AF65-F5344CB8AC3E}">
        <p14:creationId xmlns:p14="http://schemas.microsoft.com/office/powerpoint/2010/main" val="3952621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04BC4-FDCE-7B1B-D288-192FF0AC17CF}"/>
              </a:ext>
            </a:extLst>
          </p:cNvPr>
          <p:cNvSpPr>
            <a:spLocks noGrp="1"/>
          </p:cNvSpPr>
          <p:nvPr>
            <p:ph type="title"/>
          </p:nvPr>
        </p:nvSpPr>
        <p:spPr/>
        <p:txBody>
          <a:bodyPr/>
          <a:lstStyle/>
          <a:p>
            <a:r>
              <a:rPr lang="en-US" dirty="0">
                <a:ea typeface="Lato Medium"/>
                <a:cs typeface="Lato Medium"/>
              </a:rPr>
              <a:t>Structure Measures</a:t>
            </a:r>
            <a:endParaRPr lang="en-US" dirty="0"/>
          </a:p>
        </p:txBody>
      </p:sp>
      <p:pic>
        <p:nvPicPr>
          <p:cNvPr id="8" name="Content Placeholder 7" descr="Traffic light with solid fill">
            <a:extLst>
              <a:ext uri="{FF2B5EF4-FFF2-40B4-BE49-F238E27FC236}">
                <a16:creationId xmlns:a16="http://schemas.microsoft.com/office/drawing/2014/main" id="{E7DFC1F9-C5E5-8106-F025-DB03C289CA7C}"/>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342900" y="1237456"/>
            <a:ext cx="4355305" cy="4343399"/>
          </a:xfrm>
        </p:spPr>
      </p:pic>
      <p:sp>
        <p:nvSpPr>
          <p:cNvPr id="4" name="Slide Number Placeholder 3">
            <a:extLst>
              <a:ext uri="{FF2B5EF4-FFF2-40B4-BE49-F238E27FC236}">
                <a16:creationId xmlns:a16="http://schemas.microsoft.com/office/drawing/2014/main" id="{C9819D83-5FA7-B7B0-B5A1-DA4A5CEA95B9}"/>
              </a:ext>
            </a:extLst>
          </p:cNvPr>
          <p:cNvSpPr>
            <a:spLocks noGrp="1"/>
          </p:cNvSpPr>
          <p:nvPr>
            <p:ph type="sldNum" sz="quarter" idx="10"/>
          </p:nvPr>
        </p:nvSpPr>
        <p:spPr/>
        <p:txBody>
          <a:bodyPr/>
          <a:lstStyle/>
          <a:p>
            <a:fld id="{97033E4B-E3EB-3D46-B2D8-3159663620FA}" type="slidenum">
              <a:rPr lang="en-US" smtClean="0"/>
              <a:pPr/>
              <a:t>16</a:t>
            </a:fld>
            <a:endParaRPr lang="en-US"/>
          </a:p>
        </p:txBody>
      </p:sp>
      <p:sp>
        <p:nvSpPr>
          <p:cNvPr id="5" name="Footer Placeholder 4">
            <a:extLst>
              <a:ext uri="{FF2B5EF4-FFF2-40B4-BE49-F238E27FC236}">
                <a16:creationId xmlns:a16="http://schemas.microsoft.com/office/drawing/2014/main" id="{D27F5BE7-233A-1239-3881-026637C02D86}"/>
              </a:ext>
            </a:extLst>
          </p:cNvPr>
          <p:cNvSpPr>
            <a:spLocks noGrp="1"/>
          </p:cNvSpPr>
          <p:nvPr>
            <p:ph type="ftr" sz="quarter" idx="11"/>
          </p:nvPr>
        </p:nvSpPr>
        <p:spPr/>
        <p:txBody>
          <a:bodyPr/>
          <a:lstStyle/>
          <a:p>
            <a:pPr algn="l"/>
            <a:r>
              <a:rPr lang="en-US"/>
              <a:t>Illinois Perinatal Quality Collaborative</a:t>
            </a:r>
          </a:p>
        </p:txBody>
      </p:sp>
      <p:sp>
        <p:nvSpPr>
          <p:cNvPr id="7" name="Rectangle: Rounded Corners 6">
            <a:extLst>
              <a:ext uri="{FF2B5EF4-FFF2-40B4-BE49-F238E27FC236}">
                <a16:creationId xmlns:a16="http://schemas.microsoft.com/office/drawing/2014/main" id="{85AF476D-E255-AA0F-4E41-D18CBB455173}"/>
              </a:ext>
            </a:extLst>
          </p:cNvPr>
          <p:cNvSpPr/>
          <p:nvPr/>
        </p:nvSpPr>
        <p:spPr>
          <a:xfrm>
            <a:off x="7849194" y="1791891"/>
            <a:ext cx="3833812" cy="3131342"/>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dirty="0">
                <a:cs typeface="Calibri"/>
              </a:rPr>
              <a:t>As this point, we expect that most structure measures will be in the NOT STARTED category</a:t>
            </a:r>
          </a:p>
        </p:txBody>
      </p:sp>
      <p:sp>
        <p:nvSpPr>
          <p:cNvPr id="9" name="Oval 8">
            <a:extLst>
              <a:ext uri="{FF2B5EF4-FFF2-40B4-BE49-F238E27FC236}">
                <a16:creationId xmlns:a16="http://schemas.microsoft.com/office/drawing/2014/main" id="{B2EF1FE1-43ED-D200-5EAE-E15B334B31A6}"/>
              </a:ext>
            </a:extLst>
          </p:cNvPr>
          <p:cNvSpPr/>
          <p:nvPr/>
        </p:nvSpPr>
        <p:spPr>
          <a:xfrm>
            <a:off x="2062757" y="1976436"/>
            <a:ext cx="916780" cy="89296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E35200C2-C3FD-E192-EF27-715A1699F06A}"/>
              </a:ext>
            </a:extLst>
          </p:cNvPr>
          <p:cNvSpPr/>
          <p:nvPr/>
        </p:nvSpPr>
        <p:spPr>
          <a:xfrm>
            <a:off x="2062756" y="2964655"/>
            <a:ext cx="916780" cy="892967"/>
          </a:xfrm>
          <a:prstGeom prst="ellips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E29A0596-DC3E-2E1C-06B6-3ACCB81E7E9B}"/>
              </a:ext>
            </a:extLst>
          </p:cNvPr>
          <p:cNvSpPr/>
          <p:nvPr/>
        </p:nvSpPr>
        <p:spPr>
          <a:xfrm>
            <a:off x="2062756" y="3952874"/>
            <a:ext cx="916780" cy="892967"/>
          </a:xfrm>
          <a:prstGeom prst="ellipse">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0BFA4BC0-5C13-5D86-D1F4-CB891EB2DA6A}"/>
              </a:ext>
            </a:extLst>
          </p:cNvPr>
          <p:cNvSpPr txBox="1"/>
          <p:nvPr/>
        </p:nvSpPr>
        <p:spPr>
          <a:xfrm>
            <a:off x="4289226" y="1976437"/>
            <a:ext cx="4881562"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a:cs typeface="Calibri"/>
              </a:rPr>
              <a:t>Haven't Started</a:t>
            </a:r>
            <a:endParaRPr lang="en-US" sz="3600" dirty="0">
              <a:cs typeface="Calibri"/>
            </a:endParaRPr>
          </a:p>
          <a:p>
            <a:endParaRPr lang="en-US" sz="3600" dirty="0">
              <a:cs typeface="Calibri"/>
            </a:endParaRPr>
          </a:p>
          <a:p>
            <a:r>
              <a:rPr lang="en-US" sz="3600" dirty="0">
                <a:cs typeface="Calibri"/>
              </a:rPr>
              <a:t>Working On It</a:t>
            </a:r>
          </a:p>
          <a:p>
            <a:endParaRPr lang="en-US" sz="3600" dirty="0">
              <a:cs typeface="Calibri"/>
            </a:endParaRPr>
          </a:p>
          <a:p>
            <a:r>
              <a:rPr lang="en-US" sz="3600" dirty="0">
                <a:cs typeface="Calibri"/>
              </a:rPr>
              <a:t>In Place</a:t>
            </a:r>
          </a:p>
        </p:txBody>
      </p:sp>
    </p:spTree>
    <p:extLst>
      <p:ext uri="{BB962C8B-B14F-4D97-AF65-F5344CB8AC3E}">
        <p14:creationId xmlns:p14="http://schemas.microsoft.com/office/powerpoint/2010/main" val="4076439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E1A90D-C1D1-012C-7D42-241FA62B00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94FDD0-5D29-B485-6260-E82CA22C06C9}"/>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315CF0A2-BDF4-4A07-3F8C-37029E004199}"/>
              </a:ext>
            </a:extLst>
          </p:cNvPr>
          <p:cNvSpPr>
            <a:spLocks noGrp="1"/>
          </p:cNvSpPr>
          <p:nvPr>
            <p:ph type="sldNum" sz="quarter" idx="10"/>
          </p:nvPr>
        </p:nvSpPr>
        <p:spPr/>
        <p:txBody>
          <a:bodyPr/>
          <a:lstStyle/>
          <a:p>
            <a:fld id="{97033E4B-E3EB-3D46-B2D8-3159663620FA}" type="slidenum">
              <a:rPr lang="en-US" smtClean="0"/>
              <a:pPr/>
              <a:t>17</a:t>
            </a:fld>
            <a:endParaRPr lang="en-US"/>
          </a:p>
        </p:txBody>
      </p:sp>
      <p:sp>
        <p:nvSpPr>
          <p:cNvPr id="5" name="Footer Placeholder 4">
            <a:extLst>
              <a:ext uri="{FF2B5EF4-FFF2-40B4-BE49-F238E27FC236}">
                <a16:creationId xmlns:a16="http://schemas.microsoft.com/office/drawing/2014/main" id="{4B3F5545-FF9E-3EDB-1819-5A8F2EE0DE58}"/>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9953D7F1-17BD-728F-97C1-5B32C8D16034}"/>
              </a:ext>
            </a:extLst>
          </p:cNvPr>
          <p:cNvSpPr>
            <a:spLocks noGrp="1"/>
          </p:cNvSpPr>
          <p:nvPr>
            <p:ph idx="1"/>
          </p:nvPr>
        </p:nvSpPr>
        <p:spPr>
          <a:xfrm>
            <a:off x="609600" y="1706336"/>
            <a:ext cx="11260348" cy="4351338"/>
          </a:xfrm>
        </p:spPr>
        <p:txBody>
          <a:bodyPr vert="horz" lIns="91440" tIns="45720" rIns="91440" bIns="45720" rtlCol="0" anchor="t">
            <a:noAutofit/>
          </a:bodyPr>
          <a:lstStyle/>
          <a:p>
            <a:pPr fontAlgn="t">
              <a:spcBef>
                <a:spcPts val="0"/>
              </a:spcBef>
            </a:pPr>
            <a:r>
              <a:rPr lang="en-US" dirty="0">
                <a:ea typeface="Lato"/>
                <a:cs typeface="Lato"/>
              </a:rPr>
              <a:t>Hospital has </a:t>
            </a:r>
            <a:r>
              <a:rPr lang="en-US" b="1" u="sng" dirty="0">
                <a:ea typeface="Lato"/>
                <a:cs typeface="Lato"/>
              </a:rPr>
              <a:t>standardized provider and hospital staff education about listening to parents and caregivers, providing respectful care and building trust, addressing implicit bias and engaging in anti-racism</a:t>
            </a:r>
            <a:r>
              <a:rPr lang="en-US" dirty="0">
                <a:ea typeface="Lato"/>
                <a:cs typeface="Lato"/>
              </a:rPr>
              <a:t>.</a:t>
            </a:r>
          </a:p>
          <a:p>
            <a:pPr lvl="1">
              <a:spcBef>
                <a:spcPts val="0"/>
              </a:spcBef>
              <a:buClr>
                <a:srgbClr val="1C498B"/>
              </a:buClr>
              <a:buFont typeface="Courier New" panose="020B0604020202020204" pitchFamily="34" charset="0"/>
              <a:buChar char="o"/>
            </a:pPr>
            <a:r>
              <a:rPr lang="en-US" dirty="0">
                <a:ea typeface="Lato"/>
                <a:cs typeface="Lato"/>
              </a:rPr>
              <a:t>January and February 2024 Webinar topics</a:t>
            </a:r>
          </a:p>
          <a:p>
            <a:pPr lvl="1">
              <a:spcBef>
                <a:spcPts val="0"/>
              </a:spcBef>
              <a:buClr>
                <a:srgbClr val="1C498B"/>
              </a:buClr>
              <a:buFont typeface="Courier New" panose="020B0604020202020204" pitchFamily="34" charset="0"/>
              <a:buChar char="o"/>
            </a:pPr>
            <a:r>
              <a:rPr lang="en-US" dirty="0">
                <a:ea typeface="Lato"/>
                <a:cs typeface="Lato"/>
              </a:rPr>
              <a:t>Review Toolkit Driver 1: Secondary Driver 1 Resources</a:t>
            </a:r>
          </a:p>
          <a:p>
            <a:pPr fontAlgn="t">
              <a:spcBef>
                <a:spcPts val="0"/>
              </a:spcBef>
            </a:pPr>
            <a:r>
              <a:rPr lang="en-US" dirty="0">
                <a:ea typeface="Lato"/>
                <a:cs typeface="Lato"/>
              </a:rPr>
              <a:t>Hospital has standardized </a:t>
            </a:r>
            <a:r>
              <a:rPr lang="en-US" b="1" u="sng" dirty="0">
                <a:ea typeface="Lato"/>
                <a:cs typeface="Lato"/>
              </a:rPr>
              <a:t>provider and hospital staff education about the importance of a safe sleep environment </a:t>
            </a:r>
            <a:r>
              <a:rPr lang="en-US" dirty="0">
                <a:ea typeface="Lato"/>
                <a:cs typeface="Lato"/>
              </a:rPr>
              <a:t>and engaging in meaningful, culturally appropriate, respectful, nonjudgmental conversations with parents or caregivers about safe sleep.  </a:t>
            </a:r>
            <a:endParaRPr lang="en-US" b="1" u="sng" dirty="0"/>
          </a:p>
          <a:p>
            <a:pPr lvl="1">
              <a:spcBef>
                <a:spcPts val="0"/>
              </a:spcBef>
              <a:buClr>
                <a:srgbClr val="1C498B"/>
              </a:buClr>
              <a:buFont typeface="Courier New,monospace" panose="020B0604020202020204" pitchFamily="34" charset="0"/>
              <a:buChar char="o"/>
            </a:pPr>
            <a:r>
              <a:rPr lang="en-US" dirty="0">
                <a:ea typeface="Lato"/>
                <a:cs typeface="Lato"/>
              </a:rPr>
              <a:t>March</a:t>
            </a:r>
            <a:r>
              <a:rPr lang="en-US" dirty="0">
                <a:ea typeface="Lato"/>
                <a:cs typeface="Calibri"/>
              </a:rPr>
              <a:t> 2024 Webinar topic</a:t>
            </a:r>
          </a:p>
          <a:p>
            <a:pPr lvl="1">
              <a:spcBef>
                <a:spcPts val="0"/>
              </a:spcBef>
              <a:buClr>
                <a:srgbClr val="1C498B"/>
              </a:buClr>
              <a:buFont typeface="Courier New,monospace" panose="020B0604020202020204" pitchFamily="34" charset="0"/>
              <a:buChar char="o"/>
            </a:pPr>
            <a:r>
              <a:rPr lang="en-US" dirty="0">
                <a:ea typeface="Lato"/>
                <a:cs typeface="Calibri"/>
              </a:rPr>
              <a:t>Review Toolkit Driver 1: Secondary Driver 2 Resources</a:t>
            </a:r>
            <a:endParaRPr lang="en-US"/>
          </a:p>
        </p:txBody>
      </p:sp>
      <p:pic>
        <p:nvPicPr>
          <p:cNvPr id="3" name="Graphic 2" descr="Laptop outline">
            <a:extLst>
              <a:ext uri="{FF2B5EF4-FFF2-40B4-BE49-F238E27FC236}">
                <a16:creationId xmlns:a16="http://schemas.microsoft.com/office/drawing/2014/main" id="{76384EC7-5EF9-FEC7-968A-891DB62074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68196" y="2756139"/>
            <a:ext cx="770627" cy="770627"/>
          </a:xfrm>
          <a:prstGeom prst="rect">
            <a:avLst/>
          </a:prstGeom>
        </p:spPr>
      </p:pic>
      <p:pic>
        <p:nvPicPr>
          <p:cNvPr id="6" name="Graphic 5" descr="Laptop outline">
            <a:extLst>
              <a:ext uri="{FF2B5EF4-FFF2-40B4-BE49-F238E27FC236}">
                <a16:creationId xmlns:a16="http://schemas.microsoft.com/office/drawing/2014/main" id="{9642BB8D-9271-B591-762C-B1572E7BB2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86687" y="4840856"/>
            <a:ext cx="770627" cy="770627"/>
          </a:xfrm>
          <a:prstGeom prst="rect">
            <a:avLst/>
          </a:prstGeom>
        </p:spPr>
      </p:pic>
    </p:spTree>
    <p:extLst>
      <p:ext uri="{BB962C8B-B14F-4D97-AF65-F5344CB8AC3E}">
        <p14:creationId xmlns:p14="http://schemas.microsoft.com/office/powerpoint/2010/main" val="29514957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1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609600" y="1706336"/>
            <a:ext cx="10972800" cy="4351338"/>
          </a:xfrm>
        </p:spPr>
        <p:txBody>
          <a:bodyPr vert="horz" lIns="91440" tIns="45720" rIns="91440" bIns="45720" rtlCol="0" anchor="t">
            <a:noAutofit/>
          </a:bodyPr>
          <a:lstStyle/>
          <a:p>
            <a:pPr fontAlgn="t">
              <a:spcBef>
                <a:spcPts val="0"/>
              </a:spcBef>
            </a:pPr>
            <a:r>
              <a:rPr lang="en-US" dirty="0">
                <a:ea typeface="Lato"/>
                <a:cs typeface="Calibri"/>
              </a:rPr>
              <a:t>Hospital has a standardized practice of </a:t>
            </a:r>
            <a:r>
              <a:rPr lang="en-US" b="1" u="sng" dirty="0">
                <a:ea typeface="Lato"/>
                <a:cs typeface="Calibri"/>
              </a:rPr>
              <a:t>promoting a safe sleep environment </a:t>
            </a:r>
            <a:r>
              <a:rPr lang="en-US" dirty="0">
                <a:ea typeface="Lato"/>
                <a:cs typeface="Calibri"/>
              </a:rPr>
              <a:t>in the hospital setting in accordance with the 2022 AAP Recommendations. </a:t>
            </a:r>
            <a:endParaRPr lang="en-US" dirty="0">
              <a:ea typeface="Lato"/>
              <a:cs typeface="Lato"/>
            </a:endParaRPr>
          </a:p>
          <a:p>
            <a:pPr lvl="1">
              <a:spcBef>
                <a:spcPts val="0"/>
              </a:spcBef>
              <a:buFont typeface="Courier New" panose="020B0604020202020204" pitchFamily="34" charset="0"/>
              <a:buChar char="o"/>
            </a:pPr>
            <a:r>
              <a:rPr lang="en-US" dirty="0">
                <a:ea typeface="Lato"/>
                <a:cs typeface="Calibri"/>
              </a:rPr>
              <a:t>How does your team ensure that all eligible babies are in a safe sleep environment on your units?</a:t>
            </a:r>
          </a:p>
          <a:p>
            <a:pPr lvl="1">
              <a:spcBef>
                <a:spcPts val="0"/>
              </a:spcBef>
              <a:buFont typeface="Courier New" panose="020B0604020202020204" pitchFamily="34" charset="0"/>
              <a:buChar char="o"/>
            </a:pPr>
            <a:r>
              <a:rPr lang="en-US" dirty="0">
                <a:ea typeface="Lato"/>
                <a:cs typeface="Calibri"/>
              </a:rPr>
              <a:t>Are you conducting audits? What is your process?</a:t>
            </a:r>
          </a:p>
          <a:p>
            <a:pPr>
              <a:spcBef>
                <a:spcPts val="0"/>
              </a:spcBef>
            </a:pPr>
            <a:r>
              <a:rPr lang="en-US" dirty="0">
                <a:ea typeface="Lato"/>
                <a:cs typeface="Lato"/>
              </a:rPr>
              <a:t>Hospital has a </a:t>
            </a:r>
            <a:r>
              <a:rPr lang="en-US" b="1" u="sng" dirty="0">
                <a:ea typeface="Lato"/>
                <a:cs typeface="Lato"/>
              </a:rPr>
              <a:t>policy in place for safe sleep practices</a:t>
            </a:r>
            <a:r>
              <a:rPr lang="en-US" dirty="0">
                <a:ea typeface="Lato"/>
                <a:cs typeface="Lato"/>
              </a:rPr>
              <a:t> reflective of the 2022 AAP Recommendations.</a:t>
            </a:r>
            <a:endParaRPr lang="en-US">
              <a:ea typeface="Lato"/>
              <a:cs typeface="Lato"/>
            </a:endParaRPr>
          </a:p>
          <a:p>
            <a:pPr lvl="1">
              <a:spcBef>
                <a:spcPts val="0"/>
              </a:spcBef>
              <a:buClr>
                <a:srgbClr val="1C498B"/>
              </a:buClr>
              <a:buFont typeface="Courier New" panose="020B0604020202020204" pitchFamily="34" charset="0"/>
              <a:buChar char="o"/>
            </a:pPr>
            <a:r>
              <a:rPr lang="en-US" dirty="0">
                <a:ea typeface="Lato"/>
                <a:cs typeface="Lato"/>
              </a:rPr>
              <a:t>Have you reviewed the 2022 AAP safe sleep guidelines?</a:t>
            </a:r>
          </a:p>
          <a:p>
            <a:pPr lvl="1">
              <a:spcBef>
                <a:spcPts val="0"/>
              </a:spcBef>
              <a:buClr>
                <a:srgbClr val="1C498B"/>
              </a:buClr>
              <a:buFont typeface="Courier New" panose="020B0604020202020204" pitchFamily="34" charset="0"/>
              <a:buChar char="o"/>
            </a:pPr>
            <a:r>
              <a:rPr lang="en-US" dirty="0">
                <a:ea typeface="Lato"/>
                <a:cs typeface="Lato"/>
              </a:rPr>
              <a:t>Have you updated your policy to reflect the new guidelines?</a:t>
            </a:r>
          </a:p>
          <a:p>
            <a:pPr lvl="1">
              <a:spcBef>
                <a:spcPts val="0"/>
              </a:spcBef>
              <a:buClr>
                <a:srgbClr val="1C498B"/>
              </a:buClr>
              <a:buFont typeface="Courier New" panose="020B0604020202020204" pitchFamily="34" charset="0"/>
              <a:buChar char="o"/>
            </a:pPr>
            <a:r>
              <a:rPr lang="en-US" dirty="0">
                <a:ea typeface="Lato"/>
                <a:cs typeface="Lato"/>
              </a:rPr>
              <a:t>Are all providers, nurses and staff aware of the new policy?</a:t>
            </a:r>
          </a:p>
          <a:p>
            <a:pPr fontAlgn="t">
              <a:spcBef>
                <a:spcPts val="0"/>
              </a:spcBef>
            </a:pPr>
            <a:endParaRPr lang="en-US" dirty="0">
              <a:ea typeface="Lato"/>
              <a:cs typeface="Lato"/>
            </a:endParaRPr>
          </a:p>
        </p:txBody>
      </p:sp>
    </p:spTree>
    <p:extLst>
      <p:ext uri="{BB962C8B-B14F-4D97-AF65-F5344CB8AC3E}">
        <p14:creationId xmlns:p14="http://schemas.microsoft.com/office/powerpoint/2010/main" val="6610466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C0DA4-E1CF-CC4D-1842-C469F3C322B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B2BAFB-F3C3-2627-32FD-743D2B7B87DC}"/>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CDCC0A0F-D16E-6E1B-1CFA-B94B4C56F5FF}"/>
              </a:ext>
            </a:extLst>
          </p:cNvPr>
          <p:cNvSpPr>
            <a:spLocks noGrp="1"/>
          </p:cNvSpPr>
          <p:nvPr>
            <p:ph type="sldNum" sz="quarter" idx="10"/>
          </p:nvPr>
        </p:nvSpPr>
        <p:spPr/>
        <p:txBody>
          <a:bodyPr/>
          <a:lstStyle/>
          <a:p>
            <a:fld id="{97033E4B-E3EB-3D46-B2D8-3159663620FA}" type="slidenum">
              <a:rPr lang="en-US" smtClean="0"/>
              <a:pPr/>
              <a:t>19</a:t>
            </a:fld>
            <a:endParaRPr lang="en-US"/>
          </a:p>
        </p:txBody>
      </p:sp>
      <p:sp>
        <p:nvSpPr>
          <p:cNvPr id="5" name="Footer Placeholder 4">
            <a:extLst>
              <a:ext uri="{FF2B5EF4-FFF2-40B4-BE49-F238E27FC236}">
                <a16:creationId xmlns:a16="http://schemas.microsoft.com/office/drawing/2014/main" id="{B18D2DF9-C66C-BEE6-4876-36A94D67E85B}"/>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ED1BE979-C18D-624E-E463-2C8C3A396A0B}"/>
              </a:ext>
            </a:extLst>
          </p:cNvPr>
          <p:cNvSpPr>
            <a:spLocks noGrp="1"/>
          </p:cNvSpPr>
          <p:nvPr>
            <p:ph idx="1"/>
          </p:nvPr>
        </p:nvSpPr>
        <p:spPr>
          <a:xfrm>
            <a:off x="609600" y="1311917"/>
            <a:ext cx="10972800" cy="4351338"/>
          </a:xfrm>
        </p:spPr>
        <p:txBody>
          <a:bodyPr vert="horz" lIns="91440" tIns="45720" rIns="91440" bIns="45720" rtlCol="0" anchor="t">
            <a:noAutofit/>
          </a:bodyPr>
          <a:lstStyle/>
          <a:p>
            <a:pPr fontAlgn="t">
              <a:spcBef>
                <a:spcPts val="0"/>
              </a:spcBef>
            </a:pPr>
            <a:r>
              <a:rPr lang="en-US" dirty="0">
                <a:ea typeface="Lato"/>
                <a:cs typeface="Lato"/>
              </a:rPr>
              <a:t>Hospital has a standardized process to use </a:t>
            </a:r>
            <a:r>
              <a:rPr lang="en-US" b="1" u="sng" dirty="0">
                <a:ea typeface="Lato"/>
                <a:cs typeface="Lato"/>
              </a:rPr>
              <a:t>qualified language interpreters </a:t>
            </a:r>
            <a:r>
              <a:rPr lang="en-US" dirty="0">
                <a:ea typeface="Lato"/>
                <a:cs typeface="Lato"/>
              </a:rPr>
              <a:t>in parents/caregivers’ preferred language.</a:t>
            </a:r>
          </a:p>
          <a:p>
            <a:pPr lvl="1">
              <a:spcBef>
                <a:spcPts val="0"/>
              </a:spcBef>
              <a:buClr>
                <a:srgbClr val="1C498B"/>
              </a:buClr>
              <a:buFont typeface="Courier New" panose="020B0604020202020204" pitchFamily="34" charset="0"/>
              <a:buChar char="o"/>
            </a:pPr>
            <a:r>
              <a:rPr lang="en-US" dirty="0">
                <a:ea typeface="Lato"/>
                <a:cs typeface="Lato"/>
              </a:rPr>
              <a:t>What is your process to understanding whether an interpreter is needed?</a:t>
            </a:r>
            <a:endParaRPr lang="en-US"/>
          </a:p>
          <a:p>
            <a:pPr lvl="1">
              <a:spcBef>
                <a:spcPts val="0"/>
              </a:spcBef>
              <a:buClr>
                <a:srgbClr val="1C498B"/>
              </a:buClr>
              <a:buFont typeface="Courier New" panose="020B0604020202020204" pitchFamily="34" charset="0"/>
              <a:buChar char="o"/>
            </a:pPr>
            <a:r>
              <a:rPr lang="en-US" dirty="0">
                <a:ea typeface="Lato"/>
                <a:cs typeface="Lato"/>
              </a:rPr>
              <a:t>How often is the interpreter utilized?</a:t>
            </a:r>
            <a:endParaRPr lang="en-US"/>
          </a:p>
          <a:p>
            <a:pPr lvl="1">
              <a:spcBef>
                <a:spcPts val="0"/>
              </a:spcBef>
              <a:buClr>
                <a:srgbClr val="1C498B"/>
              </a:buClr>
              <a:buFont typeface="Courier New" panose="020B0604020202020204" pitchFamily="34" charset="0"/>
              <a:buChar char="o"/>
            </a:pPr>
            <a:r>
              <a:rPr lang="en-US" dirty="0">
                <a:ea typeface="Lato"/>
                <a:cs typeface="Lato"/>
              </a:rPr>
              <a:t>How can you assess whether the interpreter is effective?</a:t>
            </a:r>
            <a:endParaRPr lang="en-US"/>
          </a:p>
          <a:p>
            <a:pPr>
              <a:spcBef>
                <a:spcPts val="0"/>
              </a:spcBef>
              <a:buClr>
                <a:srgbClr val="F5668F"/>
              </a:buClr>
            </a:pPr>
            <a:r>
              <a:rPr lang="en-US" dirty="0">
                <a:ea typeface="Lato"/>
                <a:cs typeface="Lato"/>
              </a:rPr>
              <a:t>Hospital has a standardized process for </a:t>
            </a:r>
            <a:r>
              <a:rPr lang="en-US" b="1" u="sng" dirty="0">
                <a:ea typeface="Lato"/>
                <a:cs typeface="Lato"/>
              </a:rPr>
              <a:t>reviewing all unit policies with an equity lens </a:t>
            </a:r>
            <a:r>
              <a:rPr lang="en-US" dirty="0">
                <a:ea typeface="Lato"/>
                <a:cs typeface="Lato"/>
              </a:rPr>
              <a:t>and making necessary changes.  </a:t>
            </a:r>
            <a:endParaRPr lang="en-US" dirty="0"/>
          </a:p>
          <a:p>
            <a:pPr lvl="1">
              <a:spcBef>
                <a:spcPts val="0"/>
              </a:spcBef>
              <a:buClr>
                <a:srgbClr val="1C498B"/>
              </a:buClr>
              <a:buFont typeface="Courier New" panose="020B0604020202020204" pitchFamily="34" charset="0"/>
              <a:buChar char="o"/>
            </a:pPr>
            <a:r>
              <a:rPr lang="en-US" dirty="0">
                <a:ea typeface="Lato"/>
                <a:cs typeface="Lato"/>
              </a:rPr>
              <a:t>More tools to come!</a:t>
            </a:r>
            <a:endParaRPr lang="en-US" dirty="0"/>
          </a:p>
          <a:p>
            <a:pPr fontAlgn="t">
              <a:spcBef>
                <a:spcPts val="0"/>
              </a:spcBef>
            </a:pPr>
            <a:r>
              <a:rPr lang="en-US" dirty="0">
                <a:ea typeface="Lato"/>
                <a:cs typeface="Lato"/>
              </a:rPr>
              <a:t>Hospital has </a:t>
            </a:r>
            <a:r>
              <a:rPr lang="en-US" b="1" u="sng" dirty="0">
                <a:ea typeface="Lato"/>
                <a:cs typeface="Lato"/>
              </a:rPr>
              <a:t>parent(s) and/or caregiver(s) on the newborn quality improvement team</a:t>
            </a:r>
            <a:endParaRPr lang="en-US"/>
          </a:p>
          <a:p>
            <a:pPr lvl="1">
              <a:spcBef>
                <a:spcPts val="0"/>
              </a:spcBef>
              <a:buFont typeface="Courier New" panose="020B0604020202020204" pitchFamily="34" charset="0"/>
              <a:buChar char="o"/>
            </a:pPr>
            <a:r>
              <a:rPr lang="en-US" dirty="0">
                <a:ea typeface="Lato"/>
                <a:cs typeface="Lato"/>
              </a:rPr>
              <a:t>Does your team have a parent and/or caregiver yet?</a:t>
            </a:r>
          </a:p>
          <a:p>
            <a:pPr lvl="1">
              <a:spcBef>
                <a:spcPts val="0"/>
              </a:spcBef>
              <a:buFont typeface="Courier New" panose="020B0604020202020204" pitchFamily="34" charset="0"/>
              <a:buChar char="o"/>
            </a:pPr>
            <a:r>
              <a:rPr lang="en-US" dirty="0">
                <a:ea typeface="Lato"/>
                <a:cs typeface="Lato"/>
              </a:rPr>
              <a:t>Does your hospital's BE team?</a:t>
            </a:r>
          </a:p>
        </p:txBody>
      </p:sp>
    </p:spTree>
    <p:extLst>
      <p:ext uri="{BB962C8B-B14F-4D97-AF65-F5344CB8AC3E}">
        <p14:creationId xmlns:p14="http://schemas.microsoft.com/office/powerpoint/2010/main" val="2163654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337457"/>
            <a:ext cx="8229600" cy="1143000"/>
          </a:xfrm>
          <a:noFill/>
        </p:spPr>
        <p:txBody>
          <a:bodyPr>
            <a:normAutofit/>
          </a:bodyPr>
          <a:lstStyle/>
          <a:p>
            <a:r>
              <a:rPr lang="en-US" altLang="en-US" sz="4800" dirty="0">
                <a:ea typeface="Lato Medium"/>
                <a:cs typeface="Lato Medium"/>
              </a:rPr>
              <a:t>Data Call Overview</a:t>
            </a:r>
          </a:p>
        </p:txBody>
      </p:sp>
      <p:sp>
        <p:nvSpPr>
          <p:cNvPr id="16387" name="Content Placeholder 3"/>
          <p:cNvSpPr>
            <a:spLocks noGrp="1"/>
          </p:cNvSpPr>
          <p:nvPr>
            <p:ph idx="1"/>
          </p:nvPr>
        </p:nvSpPr>
        <p:spPr>
          <a:xfrm>
            <a:off x="317253" y="1413504"/>
            <a:ext cx="12262553" cy="4953288"/>
          </a:xfrm>
        </p:spPr>
        <p:txBody>
          <a:bodyPr vert="horz" lIns="91440" tIns="45720" rIns="91440" bIns="45720" rtlCol="0" anchor="t">
            <a:normAutofit/>
          </a:bodyPr>
          <a:lstStyle/>
          <a:p>
            <a:r>
              <a:rPr lang="en-US" altLang="en-US" sz="2800" dirty="0">
                <a:ea typeface="Lato"/>
                <a:cs typeface="Lato"/>
              </a:rPr>
              <a:t> What is the ILPQC Data System (REDCap)? </a:t>
            </a:r>
            <a:endParaRPr lang="en-US"/>
          </a:p>
          <a:p>
            <a:r>
              <a:rPr lang="en-US" altLang="en-US" sz="2800" dirty="0">
                <a:ea typeface="Lato"/>
                <a:cs typeface="Lato"/>
              </a:rPr>
              <a:t> Accessing </a:t>
            </a:r>
            <a:r>
              <a:rPr lang="en-US" altLang="en-US" sz="2800" dirty="0" err="1">
                <a:ea typeface="Lato"/>
                <a:cs typeface="Lato"/>
              </a:rPr>
              <a:t>REDCap</a:t>
            </a:r>
            <a:r>
              <a:rPr lang="en-US" altLang="en-US" sz="2800" dirty="0">
                <a:ea typeface="Lato"/>
                <a:cs typeface="Lato"/>
              </a:rPr>
              <a:t> </a:t>
            </a:r>
            <a:endParaRPr lang="en-US" dirty="0"/>
          </a:p>
          <a:p>
            <a:r>
              <a:rPr lang="en-US" altLang="en-US" sz="2800" dirty="0">
                <a:ea typeface="Lato"/>
                <a:cs typeface="Lato"/>
              </a:rPr>
              <a:t>ESSI Hospital Level Data</a:t>
            </a:r>
            <a:endParaRPr lang="en-US" dirty="0"/>
          </a:p>
          <a:p>
            <a:r>
              <a:rPr lang="en-US" altLang="en-US" sz="2800" dirty="0">
                <a:ea typeface="Lato"/>
                <a:cs typeface="Lato"/>
              </a:rPr>
              <a:t>ESSI Patient Level Data</a:t>
            </a:r>
            <a:endParaRPr lang="en-US" altLang="en-US" sz="2800" dirty="0"/>
          </a:p>
          <a:p>
            <a:pPr>
              <a:buClr>
                <a:srgbClr val="F5668F"/>
              </a:buClr>
            </a:pPr>
            <a:r>
              <a:rPr lang="en-US" altLang="en-US" sz="2800" dirty="0">
                <a:ea typeface="Lato"/>
                <a:cs typeface="Lato"/>
              </a:rPr>
              <a:t>Data Collection Timelines (Baseline &amp; Prospective Data) </a:t>
            </a:r>
            <a:endParaRPr lang="en-US" sz="2800"/>
          </a:p>
          <a:p>
            <a:pPr>
              <a:buClr>
                <a:srgbClr val="F5668F"/>
              </a:buClr>
            </a:pPr>
            <a:r>
              <a:rPr lang="en-US" altLang="en-US" sz="2800" dirty="0">
                <a:ea typeface="Lato"/>
                <a:cs typeface="Lato"/>
              </a:rPr>
              <a:t>Questions  and feedback from you</a:t>
            </a:r>
            <a:endParaRPr lang="en-US" sz="2800" dirty="0"/>
          </a:p>
          <a:p>
            <a:pPr>
              <a:buClr>
                <a:srgbClr val="F5668F"/>
              </a:buClr>
            </a:pPr>
            <a:endParaRPr lang="en-US" altLang="en-US" sz="2800" dirty="0"/>
          </a:p>
          <a:p>
            <a:pPr>
              <a:buClr>
                <a:srgbClr val="F5668F"/>
              </a:buClr>
            </a:pPr>
            <a:endParaRPr lang="en-US" altLang="en-US" sz="2200" dirty="0"/>
          </a:p>
          <a:p>
            <a:pPr>
              <a:buClr>
                <a:srgbClr val="F5668F"/>
              </a:buClr>
            </a:pPr>
            <a:endParaRPr lang="en-US" altLang="en-US" sz="2200" dirty="0"/>
          </a:p>
          <a:p>
            <a:pPr marL="457200" lvl="1" indent="0">
              <a:buClr>
                <a:srgbClr val="004990"/>
              </a:buClr>
              <a:buNone/>
            </a:pPr>
            <a:endParaRPr lang="en-US" altLang="en-US" sz="2200" dirty="0"/>
          </a:p>
          <a:p>
            <a:pPr>
              <a:buClr>
                <a:srgbClr val="F5668F"/>
              </a:buClr>
            </a:pPr>
            <a:endParaRPr lang="en-US" altLang="en-US" dirty="0"/>
          </a:p>
        </p:txBody>
      </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2C9DA-B2FC-FE0A-8CD8-390C2E68C56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AF87EB-824D-4AAD-1959-46B53FBC0AD7}"/>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07A3A0A7-E0E9-3BEB-CC74-AE920F5D62B6}"/>
              </a:ext>
            </a:extLst>
          </p:cNvPr>
          <p:cNvSpPr>
            <a:spLocks noGrp="1"/>
          </p:cNvSpPr>
          <p:nvPr>
            <p:ph type="sldNum" sz="quarter" idx="10"/>
          </p:nvPr>
        </p:nvSpPr>
        <p:spPr/>
        <p:txBody>
          <a:bodyPr/>
          <a:lstStyle/>
          <a:p>
            <a:fld id="{97033E4B-E3EB-3D46-B2D8-3159663620FA}" type="slidenum">
              <a:rPr lang="en-US" smtClean="0"/>
              <a:pPr/>
              <a:t>20</a:t>
            </a:fld>
            <a:endParaRPr lang="en-US"/>
          </a:p>
        </p:txBody>
      </p:sp>
      <p:sp>
        <p:nvSpPr>
          <p:cNvPr id="5" name="Footer Placeholder 4">
            <a:extLst>
              <a:ext uri="{FF2B5EF4-FFF2-40B4-BE49-F238E27FC236}">
                <a16:creationId xmlns:a16="http://schemas.microsoft.com/office/drawing/2014/main" id="{4BE0F1CB-6158-97D2-5844-8A7EBBC416CD}"/>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3266C100-4D3C-D7B9-E9D5-CD9A55130E16}"/>
              </a:ext>
            </a:extLst>
          </p:cNvPr>
          <p:cNvSpPr>
            <a:spLocks noGrp="1"/>
          </p:cNvSpPr>
          <p:nvPr>
            <p:ph idx="1"/>
          </p:nvPr>
        </p:nvSpPr>
        <p:spPr>
          <a:xfrm>
            <a:off x="511629" y="1488168"/>
            <a:ext cx="10972800" cy="4351338"/>
          </a:xfrm>
        </p:spPr>
        <p:txBody>
          <a:bodyPr vert="horz" lIns="91440" tIns="45720" rIns="91440" bIns="45720" rtlCol="0" anchor="t">
            <a:noAutofit/>
          </a:bodyPr>
          <a:lstStyle/>
          <a:p>
            <a:pPr fontAlgn="t"/>
            <a:r>
              <a:rPr lang="en-US" sz="3200" b="1" dirty="0">
                <a:ea typeface="Lato"/>
                <a:cs typeface="Lato"/>
              </a:rPr>
              <a:t>Hospital has a standardized process to….</a:t>
            </a:r>
          </a:p>
          <a:p>
            <a:pPr lvl="1" fontAlgn="t"/>
            <a:r>
              <a:rPr lang="en-US" sz="2400" dirty="0">
                <a:ea typeface="Lato"/>
                <a:cs typeface="Lato"/>
              </a:rPr>
              <a:t>Provide parents or caregivers </a:t>
            </a:r>
            <a:r>
              <a:rPr lang="en-US" sz="2400" b="1" u="sng" dirty="0">
                <a:ea typeface="Lato"/>
                <a:cs typeface="Lato"/>
              </a:rPr>
              <a:t>culturally responsive safe sleep education</a:t>
            </a:r>
            <a:r>
              <a:rPr lang="en-US" sz="2400" dirty="0">
                <a:ea typeface="Lato"/>
                <a:cs typeface="Lato"/>
              </a:rPr>
              <a:t> including awareness of potential challenges, modeling, and teach back opportunities during hospitalization.</a:t>
            </a:r>
          </a:p>
          <a:p>
            <a:pPr lvl="2">
              <a:buFont typeface="Wingdings" panose="020B0604020202020204" pitchFamily="34" charset="0"/>
              <a:buChar char="§"/>
            </a:pPr>
            <a:r>
              <a:rPr lang="en-US" sz="2200">
                <a:ea typeface="Lato"/>
                <a:cs typeface="Lato"/>
              </a:rPr>
              <a:t>What is your current process of safe sleep education?</a:t>
            </a:r>
            <a:endParaRPr lang="en-US" sz="2200" dirty="0">
              <a:ea typeface="Lato"/>
              <a:cs typeface="Lato"/>
            </a:endParaRPr>
          </a:p>
          <a:p>
            <a:pPr lvl="2">
              <a:buFont typeface="Wingdings" panose="020B0604020202020204" pitchFamily="34" charset="0"/>
              <a:buChar char="§"/>
            </a:pPr>
            <a:r>
              <a:rPr lang="en-US" sz="2200">
                <a:ea typeface="Lato"/>
                <a:cs typeface="Lato"/>
              </a:rPr>
              <a:t>How can it be improved?</a:t>
            </a:r>
            <a:endParaRPr lang="en-US" sz="2200" dirty="0">
              <a:ea typeface="Lato"/>
              <a:cs typeface="Lato"/>
            </a:endParaRPr>
          </a:p>
          <a:p>
            <a:pPr lvl="2">
              <a:buClr>
                <a:srgbClr val="F5668F"/>
              </a:buClr>
              <a:buFont typeface="Wingdings" panose="020B0604020202020204" pitchFamily="34" charset="0"/>
              <a:buChar char="§"/>
            </a:pPr>
            <a:endParaRPr lang="en-US" sz="2400" dirty="0">
              <a:ea typeface="Lato"/>
              <a:cs typeface="Lato"/>
            </a:endParaRPr>
          </a:p>
        </p:txBody>
      </p:sp>
    </p:spTree>
    <p:extLst>
      <p:ext uri="{BB962C8B-B14F-4D97-AF65-F5344CB8AC3E}">
        <p14:creationId xmlns:p14="http://schemas.microsoft.com/office/powerpoint/2010/main" val="6510481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1B8BB-22AF-360D-01E7-DD43B9332A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A91DB6-3A6E-3891-1B41-0FB70B5B2E42}"/>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D17DBBC9-773E-5C19-3AB3-5A9ACACBCDF2}"/>
              </a:ext>
            </a:extLst>
          </p:cNvPr>
          <p:cNvSpPr>
            <a:spLocks noGrp="1"/>
          </p:cNvSpPr>
          <p:nvPr>
            <p:ph type="sldNum" sz="quarter" idx="10"/>
          </p:nvPr>
        </p:nvSpPr>
        <p:spPr/>
        <p:txBody>
          <a:bodyPr/>
          <a:lstStyle/>
          <a:p>
            <a:fld id="{97033E4B-E3EB-3D46-B2D8-3159663620FA}" type="slidenum">
              <a:rPr lang="en-US" smtClean="0"/>
              <a:pPr/>
              <a:t>21</a:t>
            </a:fld>
            <a:endParaRPr lang="en-US"/>
          </a:p>
        </p:txBody>
      </p:sp>
      <p:sp>
        <p:nvSpPr>
          <p:cNvPr id="5" name="Footer Placeholder 4">
            <a:extLst>
              <a:ext uri="{FF2B5EF4-FFF2-40B4-BE49-F238E27FC236}">
                <a16:creationId xmlns:a16="http://schemas.microsoft.com/office/drawing/2014/main" id="{BD27EB9D-5CD8-CA36-B7AD-EF1C8123F787}"/>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A09C94AD-2CF7-519B-2435-D0EABC3FE2E6}"/>
              </a:ext>
            </a:extLst>
          </p:cNvPr>
          <p:cNvSpPr>
            <a:spLocks noGrp="1"/>
          </p:cNvSpPr>
          <p:nvPr>
            <p:ph idx="1"/>
          </p:nvPr>
        </p:nvSpPr>
        <p:spPr>
          <a:xfrm>
            <a:off x="511629" y="1488168"/>
            <a:ext cx="10972800" cy="4351338"/>
          </a:xfrm>
        </p:spPr>
        <p:txBody>
          <a:bodyPr vert="horz" lIns="91440" tIns="45720" rIns="91440" bIns="45720" rtlCol="0" anchor="t">
            <a:noAutofit/>
          </a:bodyPr>
          <a:lstStyle/>
          <a:p>
            <a:pPr fontAlgn="t"/>
            <a:r>
              <a:rPr lang="en-US" sz="3200" b="1">
                <a:ea typeface="Lato"/>
                <a:cs typeface="Lato"/>
              </a:rPr>
              <a:t>Hospital has a standardized process to….</a:t>
            </a:r>
          </a:p>
          <a:p>
            <a:pPr lvl="1" fontAlgn="t"/>
            <a:r>
              <a:rPr lang="en-US" sz="2400" dirty="0">
                <a:ea typeface="Lato"/>
                <a:cs typeface="Lato"/>
              </a:rPr>
              <a:t>Identify </a:t>
            </a:r>
            <a:r>
              <a:rPr lang="en-US" sz="2400" b="1" u="sng" dirty="0">
                <a:ea typeface="Lato"/>
                <a:cs typeface="Lato"/>
              </a:rPr>
              <a:t>barriers to providing a safe sleep environment </a:t>
            </a:r>
            <a:r>
              <a:rPr lang="en-US" sz="2400" dirty="0">
                <a:ea typeface="Lato"/>
                <a:cs typeface="Lato"/>
              </a:rPr>
              <a:t>outside of the hospital.</a:t>
            </a:r>
          </a:p>
          <a:p>
            <a:pPr lvl="1" fontAlgn="t"/>
            <a:r>
              <a:rPr lang="en-US" sz="2400" dirty="0">
                <a:ea typeface="Lato"/>
                <a:cs typeface="Lato"/>
              </a:rPr>
              <a:t>Provide </a:t>
            </a:r>
            <a:r>
              <a:rPr lang="en-US" sz="2400" b="1" u="sng" dirty="0">
                <a:ea typeface="Lato"/>
                <a:cs typeface="Lato"/>
              </a:rPr>
              <a:t>resources to enable a safe sleep environment </a:t>
            </a:r>
            <a:r>
              <a:rPr lang="en-US" sz="2400" dirty="0">
                <a:ea typeface="Lato"/>
                <a:cs typeface="Lato"/>
              </a:rPr>
              <a:t>outside of the hospital.</a:t>
            </a:r>
          </a:p>
          <a:p>
            <a:pPr lvl="1" fontAlgn="t"/>
            <a:r>
              <a:rPr lang="en-US" sz="2400" dirty="0">
                <a:ea typeface="Lato"/>
                <a:cs typeface="Lato"/>
              </a:rPr>
              <a:t>Screen for </a:t>
            </a:r>
            <a:r>
              <a:rPr lang="en-US" sz="2400" b="1" u="sng" dirty="0">
                <a:ea typeface="Lato"/>
                <a:cs typeface="Lato"/>
              </a:rPr>
              <a:t>newborn inclusive Social Determinants of Health </a:t>
            </a:r>
            <a:r>
              <a:rPr lang="en-US" sz="2400" dirty="0">
                <a:ea typeface="Lato"/>
                <a:cs typeface="Lato"/>
              </a:rPr>
              <a:t>and to link to needed resources.</a:t>
            </a:r>
          </a:p>
          <a:p>
            <a:pPr marL="342900" indent="-342900">
              <a:buClr>
                <a:srgbClr val="F5668F"/>
              </a:buClr>
              <a:buFont typeface="Calibri" panose="020F0502020204030204"/>
              <a:buAutoNum type="arabicPeriod"/>
            </a:pPr>
            <a:endParaRPr lang="en-US" sz="1800" dirty="0"/>
          </a:p>
        </p:txBody>
      </p:sp>
    </p:spTree>
    <p:extLst>
      <p:ext uri="{BB962C8B-B14F-4D97-AF65-F5344CB8AC3E}">
        <p14:creationId xmlns:p14="http://schemas.microsoft.com/office/powerpoint/2010/main" val="329698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D44087-CE72-FC4B-4051-6060C879DA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B8D32D-C30E-7FF2-DD56-D84E932FAD70}"/>
              </a:ext>
            </a:extLst>
          </p:cNvPr>
          <p:cNvSpPr>
            <a:spLocks noGrp="1"/>
          </p:cNvSpPr>
          <p:nvPr>
            <p:ph type="title"/>
          </p:nvPr>
        </p:nvSpPr>
        <p:spPr>
          <a:xfrm>
            <a:off x="609600" y="82097"/>
            <a:ext cx="5388429" cy="1325563"/>
          </a:xfrm>
          <a:noFill/>
        </p:spPr>
        <p:txBody>
          <a:bodyPr/>
          <a:lstStyle/>
          <a:p>
            <a:r>
              <a:rPr lang="en-US" dirty="0"/>
              <a:t>Hospital Level Data form: </a:t>
            </a:r>
            <a:r>
              <a:rPr lang="en-US" b="0" dirty="0"/>
              <a:t>Structure Measures</a:t>
            </a:r>
          </a:p>
        </p:txBody>
      </p:sp>
      <p:sp>
        <p:nvSpPr>
          <p:cNvPr id="4" name="Slide Number Placeholder 3">
            <a:extLst>
              <a:ext uri="{FF2B5EF4-FFF2-40B4-BE49-F238E27FC236}">
                <a16:creationId xmlns:a16="http://schemas.microsoft.com/office/drawing/2014/main" id="{5EF6FC67-CD3D-9975-224A-C9211B161B0F}"/>
              </a:ext>
            </a:extLst>
          </p:cNvPr>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a:extLst>
              <a:ext uri="{FF2B5EF4-FFF2-40B4-BE49-F238E27FC236}">
                <a16:creationId xmlns:a16="http://schemas.microsoft.com/office/drawing/2014/main" id="{539CB318-7967-9EFE-3116-9D24BD808AC9}"/>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0ED66B27-0F11-86B9-EFB0-3CA28DD48605}"/>
              </a:ext>
            </a:extLst>
          </p:cNvPr>
          <p:cNvSpPr>
            <a:spLocks noGrp="1"/>
          </p:cNvSpPr>
          <p:nvPr>
            <p:ph idx="1"/>
          </p:nvPr>
        </p:nvSpPr>
        <p:spPr>
          <a:xfrm>
            <a:off x="511629" y="1488168"/>
            <a:ext cx="10972800" cy="4351338"/>
          </a:xfrm>
        </p:spPr>
        <p:txBody>
          <a:bodyPr vert="horz" lIns="91440" tIns="45720" rIns="91440" bIns="45720" rtlCol="0" anchor="t">
            <a:noAutofit/>
          </a:bodyPr>
          <a:lstStyle/>
          <a:p>
            <a:pPr fontAlgn="t"/>
            <a:r>
              <a:rPr lang="en-US" sz="3200" b="1" dirty="0">
                <a:ea typeface="Lato"/>
                <a:cs typeface="Lato"/>
              </a:rPr>
              <a:t>Hospital has a standardized process to….</a:t>
            </a:r>
          </a:p>
          <a:p>
            <a:pPr lvl="1" fontAlgn="t"/>
            <a:r>
              <a:rPr lang="en-US" sz="2400" b="1" u="sng" dirty="0">
                <a:ea typeface="Lato"/>
                <a:cs typeface="Lato"/>
              </a:rPr>
              <a:t>Transfer of care </a:t>
            </a:r>
            <a:r>
              <a:rPr lang="en-US" sz="2400" dirty="0">
                <a:ea typeface="Lato"/>
                <a:cs typeface="Lato"/>
              </a:rPr>
              <a:t>to the newborn’s community provider, including documentation of ESSI Newborn Care Plan.</a:t>
            </a:r>
          </a:p>
          <a:p>
            <a:pPr lvl="1" fontAlgn="t"/>
            <a:r>
              <a:rPr lang="en-US" sz="2400" dirty="0">
                <a:ea typeface="Lato"/>
                <a:cs typeface="Lato"/>
              </a:rPr>
              <a:t>The collection of </a:t>
            </a:r>
            <a:r>
              <a:rPr lang="en-US" sz="2400" b="1" u="sng" dirty="0">
                <a:ea typeface="Lato"/>
                <a:cs typeface="Lato"/>
              </a:rPr>
              <a:t>parent-reported newborn race and ethnicity data</a:t>
            </a:r>
            <a:r>
              <a:rPr lang="en-US" sz="2400" dirty="0">
                <a:ea typeface="Lato"/>
                <a:cs typeface="Lato"/>
              </a:rPr>
              <a:t>.</a:t>
            </a:r>
          </a:p>
          <a:p>
            <a:pPr lvl="1" fontAlgn="t"/>
            <a:r>
              <a:rPr lang="en-US" sz="2400" b="1" u="sng" dirty="0">
                <a:ea typeface="Lato"/>
                <a:cs typeface="Lato"/>
              </a:rPr>
              <a:t>Stratify and share neonatal data </a:t>
            </a:r>
            <a:r>
              <a:rPr lang="en-US" sz="2400" dirty="0">
                <a:ea typeface="Lato"/>
                <a:cs typeface="Lato"/>
              </a:rPr>
              <a:t>by birthing person’s race, ethnicity, and insurance status.</a:t>
            </a:r>
          </a:p>
          <a:p>
            <a:pPr lvl="1" fontAlgn="t"/>
            <a:r>
              <a:rPr lang="en-US" sz="2400" b="1" u="sng" dirty="0">
                <a:ea typeface="Lato"/>
                <a:cs typeface="Lato"/>
              </a:rPr>
              <a:t>Address disparities </a:t>
            </a:r>
            <a:r>
              <a:rPr lang="en-US" sz="2400" dirty="0">
                <a:ea typeface="Lato"/>
                <a:cs typeface="Lato"/>
              </a:rPr>
              <a:t>based on review of neonatal outcomes stratified by birthing person’s race, ethnicity, and insurance status.</a:t>
            </a:r>
          </a:p>
          <a:p>
            <a:pPr marL="342900" indent="-342900">
              <a:buFont typeface="+mj-lt"/>
              <a:buAutoNum type="arabicPeriod"/>
            </a:pPr>
            <a:endParaRPr lang="en-US" sz="1800" dirty="0"/>
          </a:p>
        </p:txBody>
      </p:sp>
    </p:spTree>
    <p:extLst>
      <p:ext uri="{BB962C8B-B14F-4D97-AF65-F5344CB8AC3E}">
        <p14:creationId xmlns:p14="http://schemas.microsoft.com/office/powerpoint/2010/main" val="40021809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10352"/>
            <a:ext cx="10972800" cy="1325563"/>
          </a:xfrm>
          <a:noFill/>
        </p:spPr>
        <p:txBody>
          <a:bodyPr/>
          <a:lstStyle/>
          <a:p>
            <a:r>
              <a:rPr lang="en-US" dirty="0"/>
              <a:t>Hospital Level Data Form: </a:t>
            </a:r>
            <a:br>
              <a:rPr lang="en-US" dirty="0"/>
            </a:br>
            <a:r>
              <a:rPr lang="en-US" b="0" dirty="0"/>
              <a:t>Safe Sleep Environment Audit</a:t>
            </a:r>
          </a:p>
        </p:txBody>
      </p:sp>
      <p:graphicFrame>
        <p:nvGraphicFramePr>
          <p:cNvPr id="6" name="Content Placeholder 5"/>
          <p:cNvGraphicFramePr>
            <a:graphicFrameLocks noGrp="1"/>
          </p:cNvGraphicFramePr>
          <p:nvPr>
            <p:ph idx="1"/>
          </p:nvPr>
        </p:nvGraphicFramePr>
        <p:xfrm>
          <a:off x="6306819" y="2406209"/>
          <a:ext cx="5275581" cy="3179848"/>
        </p:xfrm>
        <a:graphic>
          <a:graphicData uri="http://schemas.openxmlformats.org/drawingml/2006/table">
            <a:tbl>
              <a:tblPr firstRow="1" firstCol="1" bandRow="1">
                <a:tableStyleId>{F5AB1C69-6EDB-4FF4-983F-18BD219EF322}</a:tableStyleId>
              </a:tblPr>
              <a:tblGrid>
                <a:gridCol w="3918455">
                  <a:extLst>
                    <a:ext uri="{9D8B030D-6E8A-4147-A177-3AD203B41FA5}">
                      <a16:colId xmlns:a16="http://schemas.microsoft.com/office/drawing/2014/main" val="2155618341"/>
                    </a:ext>
                  </a:extLst>
                </a:gridCol>
                <a:gridCol w="1357126">
                  <a:extLst>
                    <a:ext uri="{9D8B030D-6E8A-4147-A177-3AD203B41FA5}">
                      <a16:colId xmlns:a16="http://schemas.microsoft.com/office/drawing/2014/main" val="3127340574"/>
                    </a:ext>
                  </a:extLst>
                </a:gridCol>
              </a:tblGrid>
              <a:tr h="200025">
                <a:tc gridSpan="2">
                  <a:txBody>
                    <a:bodyPr/>
                    <a:lstStyle/>
                    <a:p>
                      <a:pPr marL="0" marR="0" algn="l">
                        <a:lnSpc>
                          <a:spcPct val="115000"/>
                        </a:lnSpc>
                        <a:spcBef>
                          <a:spcPts val="0"/>
                        </a:spcBef>
                        <a:spcAft>
                          <a:spcPts val="1000"/>
                        </a:spcAft>
                      </a:pPr>
                      <a:r>
                        <a:rPr lang="en-US" sz="2000" dirty="0">
                          <a:effectLst/>
                        </a:rPr>
                        <a:t>Postpartum Unit</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3019059648"/>
                  </a:ext>
                </a:extLst>
              </a:tr>
              <a:tr h="450850">
                <a:tc>
                  <a:txBody>
                    <a:bodyPr/>
                    <a:lstStyle/>
                    <a:p>
                      <a:pPr marL="0" marR="0" lvl="0" indent="0" algn="l">
                        <a:lnSpc>
                          <a:spcPct val="115000"/>
                        </a:lnSpc>
                        <a:spcBef>
                          <a:spcPts val="0"/>
                        </a:spcBef>
                        <a:spcAft>
                          <a:spcPts val="1000"/>
                        </a:spcAft>
                        <a:buFont typeface="+mj-lt"/>
                        <a:buNone/>
                      </a:pPr>
                      <a:r>
                        <a:rPr lang="en-US" sz="1600">
                          <a:effectLst/>
                        </a:rPr>
                        <a:t>Number of infants on Postpartum unit audited for safe sleep</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226943554"/>
                  </a:ext>
                </a:extLst>
              </a:tr>
              <a:tr h="606574">
                <a:tc>
                  <a:txBody>
                    <a:bodyPr/>
                    <a:lstStyle/>
                    <a:p>
                      <a:pPr marL="0" marR="0" lvl="0" indent="0" algn="l">
                        <a:lnSpc>
                          <a:spcPct val="115000"/>
                        </a:lnSpc>
                        <a:spcBef>
                          <a:spcPts val="0"/>
                        </a:spcBef>
                        <a:spcAft>
                          <a:spcPts val="0"/>
                        </a:spcAft>
                        <a:buFont typeface="+mj-lt"/>
                        <a:buNone/>
                      </a:pPr>
                      <a:r>
                        <a:rPr lang="en-US" sz="1600" dirty="0">
                          <a:effectLst/>
                        </a:rPr>
                        <a:t>Number of audited infants on Postpartum unit noted to be in a safe sleep environment</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98229208"/>
                  </a:ext>
                </a:extLst>
              </a:tr>
              <a:tr h="190500">
                <a:tc gridSpan="2">
                  <a:txBody>
                    <a:bodyPr/>
                    <a:lstStyle/>
                    <a:p>
                      <a:pPr marL="0" marR="0" indent="0" algn="l">
                        <a:lnSpc>
                          <a:spcPct val="115000"/>
                        </a:lnSpc>
                        <a:spcBef>
                          <a:spcPts val="0"/>
                        </a:spcBef>
                        <a:spcAft>
                          <a:spcPts val="0"/>
                        </a:spcAft>
                        <a:buFont typeface="+mj-lt"/>
                        <a:buNone/>
                      </a:pPr>
                      <a:r>
                        <a:rPr lang="en-US" sz="2000" dirty="0">
                          <a:effectLst/>
                        </a:rPr>
                        <a:t>Special Care Nursery or NICU</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610599144"/>
                  </a:ext>
                </a:extLst>
              </a:tr>
              <a:tr h="450850">
                <a:tc>
                  <a:txBody>
                    <a:bodyPr/>
                    <a:lstStyle/>
                    <a:p>
                      <a:pPr marL="0" marR="0" lvl="0" indent="0" algn="l">
                        <a:lnSpc>
                          <a:spcPct val="115000"/>
                        </a:lnSpc>
                        <a:spcBef>
                          <a:spcPts val="0"/>
                        </a:spcBef>
                        <a:spcAft>
                          <a:spcPts val="1000"/>
                        </a:spcAft>
                        <a:buFont typeface="+mj-lt"/>
                        <a:buNone/>
                      </a:pPr>
                      <a:r>
                        <a:rPr lang="en-US" sz="1600" dirty="0">
                          <a:effectLst/>
                        </a:rPr>
                        <a:t>Number of infants on Special Care Nursery or NICU audited for safe sleep</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775714632"/>
                  </a:ext>
                </a:extLst>
              </a:tr>
              <a:tr h="450850">
                <a:tc>
                  <a:txBody>
                    <a:bodyPr/>
                    <a:lstStyle/>
                    <a:p>
                      <a:pPr marL="0" marR="0" lvl="0" indent="0" algn="l">
                        <a:lnSpc>
                          <a:spcPct val="115000"/>
                        </a:lnSpc>
                        <a:spcBef>
                          <a:spcPts val="0"/>
                        </a:spcBef>
                        <a:spcAft>
                          <a:spcPts val="0"/>
                        </a:spcAft>
                        <a:buFont typeface="+mj-lt"/>
                        <a:buNone/>
                      </a:pPr>
                      <a:r>
                        <a:rPr lang="en-US" sz="1600" dirty="0">
                          <a:effectLst/>
                        </a:rPr>
                        <a:t>Number of audited infants on Special Care Nursery or NICU noted to be in a safe sleep environment</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37793256"/>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2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Rectangle 6"/>
          <p:cNvSpPr/>
          <p:nvPr/>
        </p:nvSpPr>
        <p:spPr>
          <a:xfrm>
            <a:off x="503646" y="1642493"/>
            <a:ext cx="5592354" cy="4427879"/>
          </a:xfrm>
          <a:prstGeom prst="rect">
            <a:avLst/>
          </a:prstGeom>
        </p:spPr>
        <p:txBody>
          <a:bodyPr wrap="square">
            <a:spAutoFit/>
          </a:bodyPr>
          <a:lstStyle/>
          <a:p>
            <a:pPr marL="342900" lvl="0" indent="-342900">
              <a:lnSpc>
                <a:spcPct val="115000"/>
              </a:lnSpc>
              <a:spcAft>
                <a:spcPts val="1000"/>
              </a:spcAft>
              <a:buFont typeface="Symbol" panose="05050102010706020507" pitchFamily="18" charset="2"/>
              <a:buChar char=""/>
            </a:pPr>
            <a:r>
              <a:rPr lang="en-US" dirty="0"/>
              <a:t>Audits should be conducted monthly for 20 infants on your postpartum unit that are eligible for safe sleep. This includes rooming-in with the parent(s) or caregiver(s)</a:t>
            </a:r>
          </a:p>
          <a:p>
            <a:pPr marL="342900" lvl="0" indent="-342900">
              <a:lnSpc>
                <a:spcPct val="115000"/>
              </a:lnSpc>
              <a:spcAft>
                <a:spcPts val="1000"/>
              </a:spcAft>
              <a:buFont typeface="Symbol" panose="05050102010706020507" pitchFamily="18" charset="2"/>
              <a:buChar char=""/>
            </a:pPr>
            <a:r>
              <a:rPr lang="en-US" dirty="0"/>
              <a:t>If you have a NICU or Special Care Nursery, please complete an additional 20 audits for infants in your NICU or Special Care Nursery</a:t>
            </a:r>
          </a:p>
          <a:p>
            <a:pPr marL="342900" lvl="0" indent="-342900">
              <a:lnSpc>
                <a:spcPct val="115000"/>
              </a:lnSpc>
              <a:spcAft>
                <a:spcPts val="1000"/>
              </a:spcAft>
              <a:buFont typeface="Symbol" panose="05050102010706020507" pitchFamily="18" charset="2"/>
              <a:buChar char=""/>
            </a:pPr>
            <a:r>
              <a:rPr lang="en-US" dirty="0"/>
              <a:t>Infants excluded from the audit are those that are medically unsuitable for safe sleep practices</a:t>
            </a:r>
          </a:p>
          <a:p>
            <a:pPr marL="342900" lvl="0" indent="-342900">
              <a:lnSpc>
                <a:spcPct val="115000"/>
              </a:lnSpc>
              <a:spcAft>
                <a:spcPts val="1000"/>
              </a:spcAft>
              <a:buFont typeface="Symbol" panose="05050102010706020507" pitchFamily="18" charset="2"/>
              <a:buChar char=""/>
            </a:pPr>
            <a:r>
              <a:rPr lang="en-US" dirty="0"/>
              <a:t>If there are fewer than 20 eligible infants on a unit to audit, audit all eligible infants available</a:t>
            </a:r>
          </a:p>
          <a:p>
            <a:pPr marL="342900" lvl="0" indent="-342900">
              <a:lnSpc>
                <a:spcPct val="115000"/>
              </a:lnSpc>
              <a:spcAft>
                <a:spcPts val="1000"/>
              </a:spcAft>
              <a:buFont typeface="Symbol" panose="05050102010706020507" pitchFamily="18" charset="2"/>
              <a:buChar char=""/>
            </a:pPr>
            <a:r>
              <a:rPr lang="en-US" dirty="0"/>
              <a:t>Please conduct audits on both day shift and night shift </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748593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41C5CA-0913-563C-145B-0EAD56152F25}"/>
              </a:ext>
            </a:extLst>
          </p:cNvPr>
          <p:cNvSpPr>
            <a:spLocks noGrp="1"/>
          </p:cNvSpPr>
          <p:nvPr>
            <p:ph type="title"/>
          </p:nvPr>
        </p:nvSpPr>
        <p:spPr/>
        <p:txBody>
          <a:bodyPr/>
          <a:lstStyle/>
          <a:p>
            <a:r>
              <a:rPr lang="en-US">
                <a:ea typeface="Lato Medium"/>
                <a:cs typeface="Lato Medium"/>
              </a:rPr>
              <a:t>Audit Forms</a:t>
            </a:r>
            <a:endParaRPr lang="en-US" dirty="0"/>
          </a:p>
        </p:txBody>
      </p:sp>
      <p:pic>
        <p:nvPicPr>
          <p:cNvPr id="6" name="Content Placeholder 5" descr="A chart with text on it&#10;&#10;Description automatically generated">
            <a:extLst>
              <a:ext uri="{FF2B5EF4-FFF2-40B4-BE49-F238E27FC236}">
                <a16:creationId xmlns:a16="http://schemas.microsoft.com/office/drawing/2014/main" id="{5D798CB4-85CD-7604-81E0-0418B591C559}"/>
              </a:ext>
            </a:extLst>
          </p:cNvPr>
          <p:cNvPicPr>
            <a:picLocks noGrp="1" noChangeAspect="1"/>
          </p:cNvPicPr>
          <p:nvPr>
            <p:ph idx="1"/>
          </p:nvPr>
        </p:nvPicPr>
        <p:blipFill>
          <a:blip r:embed="rId2"/>
          <a:stretch>
            <a:fillRect/>
          </a:stretch>
        </p:blipFill>
        <p:spPr>
          <a:xfrm>
            <a:off x="609600" y="2391073"/>
            <a:ext cx="10972800" cy="4025573"/>
          </a:xfrm>
        </p:spPr>
      </p:pic>
      <p:sp>
        <p:nvSpPr>
          <p:cNvPr id="4" name="Slide Number Placeholder 3">
            <a:extLst>
              <a:ext uri="{FF2B5EF4-FFF2-40B4-BE49-F238E27FC236}">
                <a16:creationId xmlns:a16="http://schemas.microsoft.com/office/drawing/2014/main" id="{4CB39673-1663-67EE-C108-0BE1C54A09D0}"/>
              </a:ext>
            </a:extLst>
          </p:cNvPr>
          <p:cNvSpPr>
            <a:spLocks noGrp="1"/>
          </p:cNvSpPr>
          <p:nvPr>
            <p:ph type="sldNum" sz="quarter" idx="10"/>
          </p:nvPr>
        </p:nvSpPr>
        <p:spPr/>
        <p:txBody>
          <a:bodyPr/>
          <a:lstStyle/>
          <a:p>
            <a:fld id="{97033E4B-E3EB-3D46-B2D8-3159663620FA}" type="slidenum">
              <a:rPr lang="en-US" smtClean="0"/>
              <a:pPr/>
              <a:t>24</a:t>
            </a:fld>
            <a:endParaRPr lang="en-US"/>
          </a:p>
        </p:txBody>
      </p:sp>
      <p:sp>
        <p:nvSpPr>
          <p:cNvPr id="5" name="Footer Placeholder 4">
            <a:extLst>
              <a:ext uri="{FF2B5EF4-FFF2-40B4-BE49-F238E27FC236}">
                <a16:creationId xmlns:a16="http://schemas.microsoft.com/office/drawing/2014/main" id="{3E8FDA39-F6A0-DD9A-F1EA-5306A082C9EA}"/>
              </a:ext>
            </a:extLst>
          </p:cNvPr>
          <p:cNvSpPr>
            <a:spLocks noGrp="1"/>
          </p:cNvSpPr>
          <p:nvPr>
            <p:ph type="ftr" sz="quarter" idx="11"/>
          </p:nvPr>
        </p:nvSpPr>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CC4DBCEB-6265-3F16-22D2-CF9C7C016880}"/>
              </a:ext>
            </a:extLst>
          </p:cNvPr>
          <p:cNvSpPr/>
          <p:nvPr/>
        </p:nvSpPr>
        <p:spPr>
          <a:xfrm>
            <a:off x="1512020" y="1550146"/>
            <a:ext cx="9330905" cy="73324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cs typeface="Calibri"/>
              </a:rPr>
              <a:t>In the ESSI toolkit, the Cribs for Kids Audit form is available. Many teams use this </a:t>
            </a:r>
            <a:r>
              <a:rPr lang="en-US" sz="2000">
                <a:cs typeface="Calibri"/>
              </a:rPr>
              <a:t>already, but you are welcome to use one your hospital has created or create your own!</a:t>
            </a:r>
            <a:endParaRPr lang="en-US" sz="2000" dirty="0">
              <a:cs typeface="Calibri"/>
            </a:endParaRPr>
          </a:p>
        </p:txBody>
      </p:sp>
    </p:spTree>
    <p:extLst>
      <p:ext uri="{BB962C8B-B14F-4D97-AF65-F5344CB8AC3E}">
        <p14:creationId xmlns:p14="http://schemas.microsoft.com/office/powerpoint/2010/main" val="3279958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2899" y="554544"/>
            <a:ext cx="5828376" cy="956924"/>
          </a:xfrm>
          <a:noFill/>
        </p:spPr>
        <p:txBody>
          <a:bodyPr anchor="b">
            <a:normAutofit/>
          </a:bodyPr>
          <a:lstStyle/>
          <a:p>
            <a:r>
              <a:rPr lang="en-US" sz="4800">
                <a:solidFill>
                  <a:schemeClr val="tx1"/>
                </a:solidFill>
              </a:rPr>
              <a:t>Education Measures</a:t>
            </a:r>
          </a:p>
        </p:txBody>
      </p:sp>
      <p:sp>
        <p:nvSpPr>
          <p:cNvPr id="4" name="Slide Number Placeholder 3"/>
          <p:cNvSpPr>
            <a:spLocks noGrp="1"/>
          </p:cNvSpPr>
          <p:nvPr>
            <p:ph type="sldNum" sz="quarter" idx="10"/>
          </p:nvPr>
        </p:nvSpPr>
        <p:spPr>
          <a:xfrm>
            <a:off x="11363715" y="-8779"/>
            <a:ext cx="826763" cy="704121"/>
          </a:xfrm>
        </p:spPr>
        <p:txBody>
          <a:bodyPr>
            <a:normAutofit/>
          </a:bodyPr>
          <a:lstStyle/>
          <a:p>
            <a:pPr algn="ctr">
              <a:spcAft>
                <a:spcPts val="600"/>
              </a:spcAft>
            </a:pPr>
            <a:fld id="{97033E4B-E3EB-3D46-B2D8-3159663620FA}" type="slidenum">
              <a:rPr lang="en-US" smtClean="0"/>
              <a:pPr algn="ctr">
                <a:spcAft>
                  <a:spcPts val="600"/>
                </a:spcAft>
              </a:pPr>
              <a:t>25</a:t>
            </a:fld>
            <a:endParaRPr lang="en-US"/>
          </a:p>
        </p:txBody>
      </p:sp>
      <p:sp>
        <p:nvSpPr>
          <p:cNvPr id="10" name="Content Placeholder 9"/>
          <p:cNvSpPr>
            <a:spLocks noGrp="1"/>
          </p:cNvSpPr>
          <p:nvPr>
            <p:ph idx="1"/>
          </p:nvPr>
        </p:nvSpPr>
        <p:spPr>
          <a:xfrm>
            <a:off x="336635" y="1586490"/>
            <a:ext cx="5828376" cy="4504426"/>
          </a:xfrm>
        </p:spPr>
        <p:txBody>
          <a:bodyPr anchor="t">
            <a:normAutofit lnSpcReduction="10000"/>
          </a:bodyPr>
          <a:lstStyle/>
          <a:p>
            <a:r>
              <a:rPr lang="en-US" sz="2000" dirty="0">
                <a:ea typeface="Lato"/>
                <a:cs typeface="Calibri"/>
              </a:rPr>
              <a:t>Percentage of physicians and providers, nurses, ancillary clinicians, and other staff completing education about…</a:t>
            </a:r>
          </a:p>
          <a:p>
            <a:pPr lvl="1">
              <a:buClr>
                <a:srgbClr val="1C498B"/>
              </a:buClr>
            </a:pPr>
            <a:r>
              <a:rPr lang="en-US" dirty="0">
                <a:ea typeface="Lato"/>
                <a:cs typeface="Calibri"/>
              </a:rPr>
              <a:t>listening to parents and caregivers, providing respectful care and building trust, addressing implicit bias and engaging in anti-racism </a:t>
            </a:r>
          </a:p>
          <a:p>
            <a:pPr lvl="1">
              <a:buClr>
                <a:srgbClr val="1C498B"/>
              </a:buClr>
            </a:pPr>
            <a:r>
              <a:rPr lang="en-US" dirty="0">
                <a:ea typeface="Lato"/>
                <a:cs typeface="Calibri"/>
              </a:rPr>
              <a:t>the importance of safe sleep and how to effectively educate parents or caregivers</a:t>
            </a:r>
            <a:endParaRPr lang="en-US" dirty="0">
              <a:ea typeface="Lato"/>
            </a:endParaRPr>
          </a:p>
          <a:p>
            <a:r>
              <a:rPr lang="en-US" sz="2000" dirty="0">
                <a:ea typeface="Lato"/>
                <a:cs typeface="Lato"/>
              </a:rPr>
              <a:t>Once you have the education structure measures in place, you will report what percent of physicians, nurses, ancillary clinicians and other staff that have completed educational requirements</a:t>
            </a:r>
          </a:p>
          <a:p>
            <a:pPr marL="0" indent="0">
              <a:buNone/>
            </a:pPr>
            <a:endParaRPr lang="en-US" sz="1800" dirty="0">
              <a:ea typeface="Lato"/>
              <a:cs typeface="Lato"/>
            </a:endParaRPr>
          </a:p>
          <a:p>
            <a:pPr marL="457200" lvl="1" indent="0">
              <a:buClr>
                <a:srgbClr val="1C498B"/>
              </a:buClr>
              <a:buNone/>
            </a:pPr>
            <a:endParaRPr lang="en-US" sz="1800" dirty="0"/>
          </a:p>
          <a:p>
            <a:pPr marL="0" indent="0">
              <a:buNone/>
            </a:pPr>
            <a:endParaRPr lang="en-US" sz="1800"/>
          </a:p>
        </p:txBody>
      </p:sp>
      <p:sp>
        <p:nvSpPr>
          <p:cNvPr id="5" name="Footer Placeholder 4"/>
          <p:cNvSpPr>
            <a:spLocks noGrp="1"/>
          </p:cNvSpPr>
          <p:nvPr>
            <p:ph type="ftr" sz="quarter" idx="11"/>
          </p:nvPr>
        </p:nvSpPr>
        <p:spPr>
          <a:xfrm>
            <a:off x="6827521" y="6117966"/>
            <a:ext cx="4114800" cy="761237"/>
          </a:xfrm>
        </p:spPr>
        <p:txBody>
          <a:bodyPr>
            <a:normAutofit/>
          </a:bodyPr>
          <a:lstStyle/>
          <a:p>
            <a:pPr algn="r">
              <a:spcAft>
                <a:spcPts val="600"/>
              </a:spcAft>
            </a:pPr>
            <a:r>
              <a:rPr lang="en-US"/>
              <a:t>Illinois Perinatal Quality Collaborative</a:t>
            </a:r>
          </a:p>
        </p:txBody>
      </p:sp>
      <p:pic>
        <p:nvPicPr>
          <p:cNvPr id="12" name="Picture 11" descr="Desk with stethoscope and computer keyboard">
            <a:extLst>
              <a:ext uri="{FF2B5EF4-FFF2-40B4-BE49-F238E27FC236}">
                <a16:creationId xmlns:a16="http://schemas.microsoft.com/office/drawing/2014/main" id="{ADA65492-88D0-2A8E-83EE-B00D4D4CD6D0}"/>
              </a:ext>
            </a:extLst>
          </p:cNvPr>
          <p:cNvPicPr>
            <a:picLocks noChangeAspect="1"/>
          </p:cNvPicPr>
          <p:nvPr/>
        </p:nvPicPr>
        <p:blipFill rotWithShape="1">
          <a:blip r:embed="rId2"/>
          <a:srcRect l="49386" r="556" b="6"/>
          <a:stretch/>
        </p:blipFill>
        <p:spPr>
          <a:xfrm>
            <a:off x="6748002" y="-1"/>
            <a:ext cx="4612337" cy="6149783"/>
          </a:xfrm>
          <a:prstGeom prst="rect">
            <a:avLst/>
          </a:prstGeom>
        </p:spPr>
      </p:pic>
    </p:spTree>
    <p:extLst>
      <p:ext uri="{BB962C8B-B14F-4D97-AF65-F5344CB8AC3E}">
        <p14:creationId xmlns:p14="http://schemas.microsoft.com/office/powerpoint/2010/main" val="15492184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F8777-758C-FAF2-E632-AA95D1A84CE7}"/>
              </a:ext>
            </a:extLst>
          </p:cNvPr>
          <p:cNvSpPr>
            <a:spLocks noGrp="1"/>
          </p:cNvSpPr>
          <p:nvPr>
            <p:ph type="title"/>
          </p:nvPr>
        </p:nvSpPr>
        <p:spPr/>
        <p:txBody>
          <a:bodyPr/>
          <a:lstStyle/>
          <a:p>
            <a:r>
              <a:rPr lang="en-US">
                <a:ea typeface="Lato Medium"/>
                <a:cs typeface="Lato Medium"/>
              </a:rPr>
              <a:t>Patient Level Data Form</a:t>
            </a:r>
            <a:endParaRPr lang="en-US"/>
          </a:p>
        </p:txBody>
      </p:sp>
      <p:sp>
        <p:nvSpPr>
          <p:cNvPr id="3" name="Content Placeholder 2">
            <a:extLst>
              <a:ext uri="{FF2B5EF4-FFF2-40B4-BE49-F238E27FC236}">
                <a16:creationId xmlns:a16="http://schemas.microsoft.com/office/drawing/2014/main" id="{AF23E682-DF1B-CD72-993B-F85306E73D4C}"/>
              </a:ext>
            </a:extLst>
          </p:cNvPr>
          <p:cNvSpPr>
            <a:spLocks noGrp="1"/>
          </p:cNvSpPr>
          <p:nvPr>
            <p:ph idx="1"/>
          </p:nvPr>
        </p:nvSpPr>
        <p:spPr>
          <a:xfrm>
            <a:off x="609600" y="1444625"/>
            <a:ext cx="10972800" cy="4351338"/>
          </a:xfrm>
        </p:spPr>
        <p:txBody>
          <a:bodyPr vert="horz" lIns="91440" tIns="45720" rIns="91440" bIns="45720" rtlCol="0" anchor="t">
            <a:noAutofit/>
          </a:bodyPr>
          <a:lstStyle/>
          <a:p>
            <a:r>
              <a:rPr lang="en-US" sz="2000" b="1" dirty="0">
                <a:ea typeface="Lato"/>
                <a:cs typeface="Calibri"/>
              </a:rPr>
              <a:t>Eligibility criteria: Collect data from infants discharged to home / caregiver. *This is a different process than the Sleep Environment Audit conducted on the ESSI Monthly Hospital Data Form.*</a:t>
            </a:r>
            <a:endParaRPr lang="en-US" sz="2000">
              <a:ea typeface="Lato"/>
            </a:endParaRPr>
          </a:p>
          <a:p>
            <a:r>
              <a:rPr lang="en-US" sz="2000" b="1" dirty="0">
                <a:ea typeface="Lato"/>
                <a:cs typeface="Calibri"/>
              </a:rPr>
              <a:t>Exclusion Criteria: Infants who died before discharge or transferred to other hospitals for care and / or infants with complex medical / surgical issues (e.g., genetic abnormalities, congenital heart disease). Exclude infants discharged from a pediatric unit. </a:t>
            </a:r>
            <a:endParaRPr lang="en-US" sz="2000" dirty="0"/>
          </a:p>
          <a:p>
            <a:r>
              <a:rPr lang="en-US" sz="2000" dirty="0">
                <a:ea typeface="+mn-lt"/>
                <a:cs typeface="+mn-lt"/>
              </a:rPr>
              <a:t>The goal is to review a sample of 20 infants a month from each neonatal unit (e.g., NICU, Special Care Nursery, Infant Nursery, postpartum)</a:t>
            </a:r>
            <a:endParaRPr lang="en-US" sz="2000" dirty="0"/>
          </a:p>
          <a:p>
            <a:pPr lvl="1">
              <a:buClr>
                <a:srgbClr val="1C498B"/>
              </a:buClr>
              <a:buFont typeface="Courier New" panose="020B0604020202020204" pitchFamily="34" charset="0"/>
              <a:buChar char="o"/>
            </a:pPr>
            <a:r>
              <a:rPr lang="en-US" sz="1600" dirty="0">
                <a:ea typeface="+mn-lt"/>
                <a:cs typeface="+mn-lt"/>
              </a:rPr>
              <a:t>Example 1: If your hospital has </a:t>
            </a:r>
            <a:r>
              <a:rPr lang="en-US" sz="1600" b="1" u="sng" dirty="0">
                <a:ea typeface="+mn-lt"/>
                <a:cs typeface="+mn-lt"/>
              </a:rPr>
              <a:t>100 neonates discharged in a month</a:t>
            </a:r>
            <a:r>
              <a:rPr lang="en-US" sz="1600" dirty="0">
                <a:ea typeface="+mn-lt"/>
                <a:cs typeface="+mn-lt"/>
              </a:rPr>
              <a:t>, then divide 100 by 20=5 and you will select every 5th newborn discharge for that month from each unit that discharges neonates</a:t>
            </a:r>
            <a:endParaRPr lang="en-US" sz="1600" dirty="0"/>
          </a:p>
          <a:p>
            <a:pPr lvl="1">
              <a:buClr>
                <a:srgbClr val="1C498B"/>
              </a:buClr>
              <a:buFont typeface="Courier New" panose="020B0604020202020204" pitchFamily="34" charset="0"/>
              <a:buChar char="o"/>
            </a:pPr>
            <a:r>
              <a:rPr lang="en-US" sz="1600" dirty="0">
                <a:ea typeface="Lato"/>
                <a:cs typeface="Calibri"/>
              </a:rPr>
              <a:t>Example 2: If your hospital has </a:t>
            </a:r>
            <a:r>
              <a:rPr lang="en-US" sz="1600" b="1" u="sng" dirty="0">
                <a:ea typeface="Lato"/>
                <a:cs typeface="Calibri"/>
              </a:rPr>
              <a:t>35 neonates discharged in a month</a:t>
            </a:r>
            <a:r>
              <a:rPr lang="en-US" sz="1600" dirty="0">
                <a:ea typeface="Lato"/>
                <a:cs typeface="Calibri"/>
              </a:rPr>
              <a:t>, then 35 divided by 20 is 1.75 and you will select every 2nd newborn discharge for that month from each unit that discharges neonates</a:t>
            </a:r>
            <a:endParaRPr lang="en-US" sz="1600">
              <a:ea typeface="Lato"/>
            </a:endParaRPr>
          </a:p>
        </p:txBody>
      </p:sp>
      <p:sp>
        <p:nvSpPr>
          <p:cNvPr id="4" name="Slide Number Placeholder 3">
            <a:extLst>
              <a:ext uri="{FF2B5EF4-FFF2-40B4-BE49-F238E27FC236}">
                <a16:creationId xmlns:a16="http://schemas.microsoft.com/office/drawing/2014/main" id="{2C6C5336-F942-344F-3941-293EEC924CD0}"/>
              </a:ext>
            </a:extLst>
          </p:cNvPr>
          <p:cNvSpPr>
            <a:spLocks noGrp="1"/>
          </p:cNvSpPr>
          <p:nvPr>
            <p:ph type="sldNum" sz="quarter" idx="10"/>
          </p:nvPr>
        </p:nvSpPr>
        <p:spPr/>
        <p:txBody>
          <a:bodyPr/>
          <a:lstStyle/>
          <a:p>
            <a:fld id="{97033E4B-E3EB-3D46-B2D8-3159663620FA}" type="slidenum">
              <a:rPr lang="en-US" smtClean="0"/>
              <a:pPr/>
              <a:t>26</a:t>
            </a:fld>
            <a:endParaRPr lang="en-US"/>
          </a:p>
        </p:txBody>
      </p:sp>
      <p:sp>
        <p:nvSpPr>
          <p:cNvPr id="5" name="Footer Placeholder 4">
            <a:extLst>
              <a:ext uri="{FF2B5EF4-FFF2-40B4-BE49-F238E27FC236}">
                <a16:creationId xmlns:a16="http://schemas.microsoft.com/office/drawing/2014/main" id="{465ACCCF-B1CF-51F2-B209-8D25BD8312E4}"/>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26011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a:lstStyle/>
          <a:p>
            <a:r>
              <a:rPr lang="en-US" dirty="0"/>
              <a:t>Patient Level Data Form</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045284219"/>
              </p:ext>
            </p:extLst>
          </p:nvPr>
        </p:nvGraphicFramePr>
        <p:xfrm>
          <a:off x="535725" y="1460650"/>
          <a:ext cx="11237973" cy="4572411"/>
        </p:xfrm>
        <a:graphic>
          <a:graphicData uri="http://schemas.openxmlformats.org/drawingml/2006/table">
            <a:tbl>
              <a:tblPr firstRow="1" firstCol="1" bandRow="1">
                <a:tableStyleId>{21E4AEA4-8DFA-4A89-87EB-49C32662AFE0}</a:tableStyleId>
              </a:tblPr>
              <a:tblGrid>
                <a:gridCol w="4280522">
                  <a:extLst>
                    <a:ext uri="{9D8B030D-6E8A-4147-A177-3AD203B41FA5}">
                      <a16:colId xmlns:a16="http://schemas.microsoft.com/office/drawing/2014/main" val="704742646"/>
                    </a:ext>
                  </a:extLst>
                </a:gridCol>
                <a:gridCol w="4445000">
                  <a:extLst>
                    <a:ext uri="{9D8B030D-6E8A-4147-A177-3AD203B41FA5}">
                      <a16:colId xmlns:a16="http://schemas.microsoft.com/office/drawing/2014/main" val="1180310804"/>
                    </a:ext>
                  </a:extLst>
                </a:gridCol>
                <a:gridCol w="2512451">
                  <a:extLst>
                    <a:ext uri="{9D8B030D-6E8A-4147-A177-3AD203B41FA5}">
                      <a16:colId xmlns:a16="http://schemas.microsoft.com/office/drawing/2014/main" val="3639061267"/>
                    </a:ext>
                  </a:extLst>
                </a:gridCol>
              </a:tblGrid>
              <a:tr h="211819">
                <a:tc gridSpan="3">
                  <a:txBody>
                    <a:bodyPr/>
                    <a:lstStyle/>
                    <a:p>
                      <a:pPr marL="0" marR="0">
                        <a:lnSpc>
                          <a:spcPct val="115000"/>
                        </a:lnSpc>
                        <a:spcBef>
                          <a:spcPts val="0"/>
                        </a:spcBef>
                        <a:spcAft>
                          <a:spcPts val="0"/>
                        </a:spcAft>
                      </a:pPr>
                      <a:r>
                        <a:rPr lang="en-US" sz="2400" dirty="0">
                          <a:effectLst/>
                        </a:rPr>
                        <a:t>Infant Demographics </a:t>
                      </a:r>
                      <a:endParaRPr lang="en-US" sz="2000" dirty="0"/>
                    </a:p>
                  </a:txBody>
                  <a:tcPr marL="68580" marR="68580" marT="0" marB="0" anchor="ctr"/>
                </a:tc>
                <a:tc hMerge="1">
                  <a:txBody>
                    <a:bodyPr/>
                    <a:lstStyle/>
                    <a:p>
                      <a:endParaRPr lang="en-US"/>
                    </a:p>
                  </a:txBody>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297432471"/>
                  </a:ext>
                </a:extLst>
              </a:tr>
              <a:tr h="952500">
                <a:tc>
                  <a:txBody>
                    <a:bodyPr/>
                    <a:lstStyle/>
                    <a:p>
                      <a:pPr marL="0" marR="0">
                        <a:lnSpc>
                          <a:spcPct val="115000"/>
                        </a:lnSpc>
                        <a:spcBef>
                          <a:spcPts val="0"/>
                        </a:spcBef>
                        <a:spcAft>
                          <a:spcPts val="0"/>
                        </a:spcAft>
                      </a:pPr>
                      <a:endParaRPr lang="en-US" sz="2000" dirty="0"/>
                    </a:p>
                    <a:p>
                      <a:pPr marL="0" marR="0">
                        <a:lnSpc>
                          <a:spcPct val="115000"/>
                        </a:lnSpc>
                        <a:spcBef>
                          <a:spcPts val="0"/>
                        </a:spcBef>
                        <a:spcAft>
                          <a:spcPts val="0"/>
                        </a:spcAft>
                      </a:pPr>
                      <a:r>
                        <a:rPr lang="en-US" sz="2000" dirty="0"/>
                        <a:t>Unit infant was discharged from</a:t>
                      </a:r>
                    </a:p>
                    <a:p>
                      <a:pPr marL="0" marR="0">
                        <a:lnSpc>
                          <a:spcPct val="115000"/>
                        </a:lnSpc>
                        <a:spcBef>
                          <a:spcPts val="0"/>
                        </a:spcBef>
                        <a:spcAft>
                          <a:spcPts val="0"/>
                        </a:spcAft>
                      </a:pPr>
                      <a:endParaRPr lang="en-US" sz="2000" dirty="0"/>
                    </a:p>
                  </a:txBody>
                  <a:tcPr marL="68580" marR="68580" marT="0" marB="0"/>
                </a:tc>
                <a:tc gridSpan="2">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t>Neonatal Intensive Care Unit (Level 3/4)</a:t>
                      </a:r>
                    </a:p>
                    <a:p>
                      <a:pPr marL="342900" marR="0" lvl="0" indent="-342900">
                        <a:lnSpc>
                          <a:spcPct val="115000"/>
                        </a:lnSpc>
                        <a:spcBef>
                          <a:spcPts val="0"/>
                        </a:spcBef>
                        <a:spcAft>
                          <a:spcPts val="0"/>
                        </a:spcAft>
                        <a:buFont typeface="Symbol" panose="05050102010706020507" pitchFamily="18" charset="2"/>
                        <a:buChar char=""/>
                      </a:pPr>
                      <a:r>
                        <a:rPr lang="en-US" sz="2000" dirty="0"/>
                        <a:t>Intermediate Care/Special Care Nursery (Level 2/2E)</a:t>
                      </a:r>
                    </a:p>
                    <a:p>
                      <a:pPr marL="342900" marR="0" lvl="0" indent="-342900">
                        <a:lnSpc>
                          <a:spcPct val="115000"/>
                        </a:lnSpc>
                        <a:spcBef>
                          <a:spcPts val="0"/>
                        </a:spcBef>
                        <a:spcAft>
                          <a:spcPts val="0"/>
                        </a:spcAft>
                        <a:buFont typeface="Symbol" panose="05050102010706020507" pitchFamily="18" charset="2"/>
                        <a:buChar char=""/>
                      </a:pPr>
                      <a:r>
                        <a:rPr lang="en-US" sz="2000" dirty="0"/>
                        <a:t>Infant Nursery (Level 1)</a:t>
                      </a:r>
                    </a:p>
                  </a:txBody>
                  <a:tcPr marL="68580" marR="68580" marT="0" marB="0"/>
                </a:tc>
                <a:tc hMerge="1">
                  <a:txBody>
                    <a:bodyPr/>
                    <a:lstStyle/>
                    <a:p>
                      <a:endParaRPr lang="en-US"/>
                    </a:p>
                  </a:txBody>
                  <a:tcPr marL="68580" marR="68580" marT="0" marB="0"/>
                </a:tc>
                <a:extLst>
                  <a:ext uri="{0D108BD9-81ED-4DB2-BD59-A6C34878D82A}">
                    <a16:rowId xmlns:a16="http://schemas.microsoft.com/office/drawing/2014/main" val="484820371"/>
                  </a:ext>
                </a:extLst>
              </a:tr>
              <a:tr h="423638">
                <a:tc>
                  <a:txBody>
                    <a:bodyPr/>
                    <a:lstStyle/>
                    <a:p>
                      <a:pPr marL="0" marR="0">
                        <a:lnSpc>
                          <a:spcPct val="115000"/>
                        </a:lnSpc>
                        <a:spcBef>
                          <a:spcPts val="0"/>
                        </a:spcBef>
                        <a:spcAft>
                          <a:spcPts val="1000"/>
                        </a:spcAft>
                      </a:pPr>
                      <a:r>
                        <a:rPr lang="en-US" sz="2000"/>
                        <a:t>Date of Infant Discharge </a:t>
                      </a:r>
                      <a:endParaRPr lang="en-US" sz="2000" dirty="0"/>
                    </a:p>
                  </a:txBody>
                  <a:tcPr marL="68580" marR="68580" marT="0" marB="0"/>
                </a:tc>
                <a:tc gridSpan="2">
                  <a:txBody>
                    <a:bodyPr/>
                    <a:lstStyle/>
                    <a:p>
                      <a:pPr marL="0" marR="0" lvl="0">
                        <a:lnSpc>
                          <a:spcPct val="114999"/>
                        </a:lnSpc>
                        <a:spcBef>
                          <a:spcPts val="0"/>
                        </a:spcBef>
                        <a:spcAft>
                          <a:spcPts val="1000"/>
                        </a:spcAft>
                        <a:buNone/>
                      </a:pPr>
                      <a:r>
                        <a:rPr lang="en-US" sz="2000" dirty="0"/>
                        <a:t>Date of Infant Discharge ____/____/____</a:t>
                      </a:r>
                      <a:endParaRPr lang="en-US" sz="2000">
                        <a:latin typeface="Calibri"/>
                        <a:cs typeface="Times New Roman"/>
                      </a:endParaRPr>
                    </a:p>
                  </a:txBody>
                  <a:tcPr marL="68580" marR="68580" marT="0" marB="0"/>
                </a:tc>
                <a:tc hMerge="1">
                  <a:txBody>
                    <a:bodyPr/>
                    <a:lstStyle/>
                    <a:p>
                      <a:endParaRPr lang="en-US"/>
                    </a:p>
                  </a:txBody>
                  <a:tcPr marL="68580" marR="68580" marT="0" marB="0"/>
                </a:tc>
                <a:extLst>
                  <a:ext uri="{0D108BD9-81ED-4DB2-BD59-A6C34878D82A}">
                    <a16:rowId xmlns:a16="http://schemas.microsoft.com/office/drawing/2014/main" val="3574659898"/>
                  </a:ext>
                </a:extLst>
              </a:tr>
              <a:tr h="211819">
                <a:tc>
                  <a:txBody>
                    <a:bodyPr/>
                    <a:lstStyle/>
                    <a:p>
                      <a:pPr marL="0" marR="0">
                        <a:lnSpc>
                          <a:spcPct val="115000"/>
                        </a:lnSpc>
                        <a:spcBef>
                          <a:spcPts val="0"/>
                        </a:spcBef>
                        <a:spcAft>
                          <a:spcPts val="0"/>
                        </a:spcAft>
                      </a:pPr>
                      <a:r>
                        <a:rPr lang="en-US" sz="2000"/>
                        <a:t>Date of Birth</a:t>
                      </a:r>
                    </a:p>
                  </a:txBody>
                  <a:tcPr marL="68580" marR="68580" marT="0" marB="0"/>
                </a:tc>
                <a:tc gridSpan="2">
                  <a:txBody>
                    <a:bodyPr/>
                    <a:lstStyle/>
                    <a:p>
                      <a:pPr marL="0" marR="0" lvl="0" algn="just">
                        <a:lnSpc>
                          <a:spcPct val="114999"/>
                        </a:lnSpc>
                        <a:spcBef>
                          <a:spcPts val="0"/>
                        </a:spcBef>
                        <a:spcAft>
                          <a:spcPts val="1000"/>
                        </a:spcAft>
                        <a:buNone/>
                      </a:pPr>
                      <a:r>
                        <a:rPr lang="en-US" sz="2000" dirty="0"/>
                        <a:t>Date of Birth ____/____/____</a:t>
                      </a:r>
                      <a:endParaRPr lang="en-US" sz="2000">
                        <a:latin typeface="Calibri"/>
                        <a:cs typeface="Times New Roman"/>
                      </a:endParaRPr>
                    </a:p>
                  </a:txBody>
                  <a:tcPr marL="68580" marR="68580" marT="0" marB="0"/>
                </a:tc>
                <a:tc hMerge="1">
                  <a:txBody>
                    <a:bodyPr/>
                    <a:lstStyle/>
                    <a:p>
                      <a:endParaRPr lang="en-US"/>
                    </a:p>
                  </a:txBody>
                  <a:tcPr marL="68580" marR="68580" marT="0" marB="0"/>
                </a:tc>
                <a:extLst>
                  <a:ext uri="{0D108BD9-81ED-4DB2-BD59-A6C34878D82A}">
                    <a16:rowId xmlns:a16="http://schemas.microsoft.com/office/drawing/2014/main" val="4167239078"/>
                  </a:ext>
                </a:extLst>
              </a:tr>
              <a:tr h="317500">
                <a:tc>
                  <a:txBody>
                    <a:bodyPr/>
                    <a:lstStyle/>
                    <a:p>
                      <a:pPr marL="0" marR="0">
                        <a:lnSpc>
                          <a:spcPct val="115000"/>
                        </a:lnSpc>
                        <a:spcBef>
                          <a:spcPts val="0"/>
                        </a:spcBef>
                        <a:spcAft>
                          <a:spcPts val="0"/>
                        </a:spcAft>
                      </a:pPr>
                      <a:r>
                        <a:rPr lang="en-US" sz="2000" dirty="0"/>
                        <a:t>Gestational age at birth</a:t>
                      </a:r>
                    </a:p>
                  </a:txBody>
                  <a:tcPr marL="68580" marR="68580" marT="0" marB="0"/>
                </a:tc>
                <a:tc gridSpan="2">
                  <a:txBody>
                    <a:bodyPr/>
                    <a:lstStyle/>
                    <a:p>
                      <a:pPr marL="0" marR="0" lvl="0" algn="just">
                        <a:lnSpc>
                          <a:spcPct val="114999"/>
                        </a:lnSpc>
                        <a:spcBef>
                          <a:spcPts val="0"/>
                        </a:spcBef>
                        <a:spcAft>
                          <a:spcPts val="1000"/>
                        </a:spcAft>
                        <a:buNone/>
                      </a:pPr>
                      <a:r>
                        <a:rPr lang="en-US" sz="2000" dirty="0"/>
                        <a:t>Gestational age, weeks: ____</a:t>
                      </a:r>
                      <a:endParaRPr lang="en-US" sz="2000">
                        <a:latin typeface="Calibri"/>
                        <a:cs typeface="Times New Roman"/>
                      </a:endParaRPr>
                    </a:p>
                  </a:txBody>
                  <a:tcPr marL="68580" marR="68580" marT="0" marB="0"/>
                </a:tc>
                <a:tc hMerge="1">
                  <a:txBody>
                    <a:bodyPr/>
                    <a:lstStyle/>
                    <a:p>
                      <a:endParaRPr lang="en-US"/>
                    </a:p>
                  </a:txBody>
                  <a:tcPr marL="68580" marR="68580" marT="0" marB="0"/>
                </a:tc>
                <a:extLst>
                  <a:ext uri="{0D108BD9-81ED-4DB2-BD59-A6C34878D82A}">
                    <a16:rowId xmlns:a16="http://schemas.microsoft.com/office/drawing/2014/main" val="3969910619"/>
                  </a:ext>
                </a:extLst>
              </a:tr>
              <a:tr h="672352">
                <a:tc>
                  <a:txBody>
                    <a:bodyPr/>
                    <a:lstStyle/>
                    <a:p>
                      <a:pPr marL="0" marR="0">
                        <a:lnSpc>
                          <a:spcPct val="115000"/>
                        </a:lnSpc>
                        <a:spcBef>
                          <a:spcPts val="0"/>
                        </a:spcBef>
                        <a:spcAft>
                          <a:spcPts val="1000"/>
                        </a:spcAft>
                      </a:pPr>
                      <a:r>
                        <a:rPr lang="en-US" sz="2000" dirty="0"/>
                        <a:t>Infant Ethnicity (select one)</a:t>
                      </a: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t>Hispanic</a:t>
                      </a:r>
                    </a:p>
                    <a:p>
                      <a:pPr marL="342900" marR="0" lvl="0" indent="-342900">
                        <a:lnSpc>
                          <a:spcPct val="115000"/>
                        </a:lnSpc>
                        <a:spcBef>
                          <a:spcPts val="0"/>
                        </a:spcBef>
                        <a:spcAft>
                          <a:spcPts val="0"/>
                        </a:spcAft>
                        <a:buFont typeface="Symbol" panose="05050102010706020507" pitchFamily="18" charset="2"/>
                        <a:buChar char=""/>
                      </a:pPr>
                      <a:r>
                        <a:rPr lang="en-US" sz="2000"/>
                        <a:t>Non-Hispanic</a:t>
                      </a:r>
                      <a:endParaRPr lang="en-US" sz="2000" dirty="0"/>
                    </a:p>
                  </a:txBody>
                  <a:tcPr marL="68580" marR="68580" marT="0" marB="0"/>
                </a:tc>
                <a:tc>
                  <a:txBody>
                    <a:bodyPr/>
                    <a:lstStyle/>
                    <a:p>
                      <a:pPr marL="342900" marR="0" lvl="0" indent="-342900">
                        <a:lnSpc>
                          <a:spcPct val="114999"/>
                        </a:lnSpc>
                        <a:spcBef>
                          <a:spcPts val="0"/>
                        </a:spcBef>
                        <a:spcAft>
                          <a:spcPts val="0"/>
                        </a:spcAft>
                        <a:buClr>
                          <a:srgbClr val="444C55"/>
                        </a:buClr>
                        <a:buFont typeface="Symbol,Sans-Serif"/>
                        <a:buChar char=""/>
                      </a:pPr>
                      <a:r>
                        <a:rPr lang="en-US" sz="2000"/>
                        <a:t>Unknown Ethnicity</a:t>
                      </a:r>
                      <a:endParaRPr lang="en-US" sz="2000" dirty="0"/>
                    </a:p>
                    <a:p>
                      <a:pPr marL="342900" marR="0" lvl="0" indent="-342900">
                        <a:lnSpc>
                          <a:spcPct val="114999"/>
                        </a:lnSpc>
                        <a:spcBef>
                          <a:spcPts val="0"/>
                        </a:spcBef>
                        <a:spcAft>
                          <a:spcPts val="1000"/>
                        </a:spcAft>
                        <a:buClr>
                          <a:srgbClr val="444C55"/>
                        </a:buClr>
                        <a:buFont typeface="Symbol,Sans-Serif"/>
                        <a:buChar char=""/>
                      </a:pPr>
                      <a:r>
                        <a:rPr lang="en-US" sz="2000"/>
                        <a:t>Declined</a:t>
                      </a:r>
                      <a:endParaRPr lang="en-US" sz="2000" dirty="0"/>
                    </a:p>
                  </a:txBody>
                  <a:tcPr marL="68580" marR="68580" marT="0" marB="0"/>
                </a:tc>
                <a:extLst>
                  <a:ext uri="{0D108BD9-81ED-4DB2-BD59-A6C34878D82A}">
                    <a16:rowId xmlns:a16="http://schemas.microsoft.com/office/drawing/2014/main" val="2580608748"/>
                  </a:ext>
                </a:extLst>
              </a:tr>
              <a:tr h="1363382">
                <a:tc>
                  <a:txBody>
                    <a:bodyPr/>
                    <a:lstStyle/>
                    <a:p>
                      <a:pPr marL="0" marR="0">
                        <a:lnSpc>
                          <a:spcPct val="115000"/>
                        </a:lnSpc>
                        <a:spcBef>
                          <a:spcPts val="0"/>
                        </a:spcBef>
                        <a:spcAft>
                          <a:spcPts val="1000"/>
                        </a:spcAft>
                      </a:pPr>
                      <a:r>
                        <a:rPr lang="en-US" sz="2000" dirty="0"/>
                        <a:t>Infant Race (Select all that apply)</a:t>
                      </a: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2000" dirty="0"/>
                        <a:t>Asian</a:t>
                      </a:r>
                    </a:p>
                    <a:p>
                      <a:pPr marL="342900" marR="0" lvl="0" indent="-342900">
                        <a:lnSpc>
                          <a:spcPct val="115000"/>
                        </a:lnSpc>
                        <a:spcBef>
                          <a:spcPts val="0"/>
                        </a:spcBef>
                        <a:spcAft>
                          <a:spcPts val="0"/>
                        </a:spcAft>
                        <a:buFont typeface="Wingdings" panose="05000000000000000000" pitchFamily="2" charset="2"/>
                        <a:buChar char=""/>
                      </a:pPr>
                      <a:r>
                        <a:rPr lang="en-US" sz="2000" dirty="0"/>
                        <a:t>Black</a:t>
                      </a:r>
                    </a:p>
                    <a:p>
                      <a:pPr marL="342900" marR="0" lvl="0" indent="-342900">
                        <a:lnSpc>
                          <a:spcPct val="115000"/>
                        </a:lnSpc>
                        <a:spcBef>
                          <a:spcPts val="0"/>
                        </a:spcBef>
                        <a:spcAft>
                          <a:spcPts val="0"/>
                        </a:spcAft>
                        <a:buFont typeface="Wingdings" panose="05000000000000000000" pitchFamily="2" charset="2"/>
                        <a:buChar char=""/>
                      </a:pPr>
                      <a:r>
                        <a:rPr lang="en-US" sz="2000" dirty="0"/>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2000" dirty="0"/>
                        <a:t>Native Hawaiian or Pacific Islander</a:t>
                      </a:r>
                    </a:p>
                  </a:txBody>
                  <a:tcPr marL="68580" marR="68580" marT="0" marB="0"/>
                </a:tc>
                <a:tc>
                  <a:txBody>
                    <a:bodyPr/>
                    <a:lstStyle/>
                    <a:p>
                      <a:pPr marL="342900" marR="0" lvl="0" indent="-342900">
                        <a:lnSpc>
                          <a:spcPct val="114999"/>
                        </a:lnSpc>
                        <a:spcBef>
                          <a:spcPts val="0"/>
                        </a:spcBef>
                        <a:spcAft>
                          <a:spcPts val="0"/>
                        </a:spcAft>
                        <a:buClr>
                          <a:srgbClr val="444C55"/>
                        </a:buClr>
                        <a:buFont typeface="Wingdings,Sans-Serif"/>
                        <a:buChar char=""/>
                      </a:pPr>
                      <a:r>
                        <a:rPr lang="en-US" sz="2000"/>
                        <a:t>White</a:t>
                      </a:r>
                      <a:endParaRPr lang="en-US" sz="2000" dirty="0"/>
                    </a:p>
                    <a:p>
                      <a:pPr marL="342900" marR="0" lvl="0" indent="-342900">
                        <a:lnSpc>
                          <a:spcPct val="114999"/>
                        </a:lnSpc>
                        <a:spcBef>
                          <a:spcPts val="0"/>
                        </a:spcBef>
                        <a:spcAft>
                          <a:spcPts val="0"/>
                        </a:spcAft>
                        <a:buClr>
                          <a:srgbClr val="444C55"/>
                        </a:buClr>
                        <a:buFont typeface="Wingdings,Sans-Serif"/>
                        <a:buChar char=""/>
                      </a:pPr>
                      <a:r>
                        <a:rPr lang="en-US" sz="2000"/>
                        <a:t>Other Race: ____</a:t>
                      </a:r>
                      <a:endParaRPr lang="en-US" sz="2000" dirty="0"/>
                    </a:p>
                    <a:p>
                      <a:pPr marL="342900" marR="0" lvl="0" indent="-342900">
                        <a:lnSpc>
                          <a:spcPct val="114999"/>
                        </a:lnSpc>
                        <a:spcBef>
                          <a:spcPts val="0"/>
                        </a:spcBef>
                        <a:spcAft>
                          <a:spcPts val="0"/>
                        </a:spcAft>
                        <a:buClr>
                          <a:srgbClr val="444C55"/>
                        </a:buClr>
                        <a:buFont typeface="Wingdings,Sans-Serif"/>
                        <a:buChar char=""/>
                      </a:pPr>
                      <a:r>
                        <a:rPr lang="en-US" sz="2000"/>
                        <a:t>Unknown Race</a:t>
                      </a:r>
                      <a:endParaRPr lang="en-US" sz="2000" dirty="0"/>
                    </a:p>
                    <a:p>
                      <a:pPr marL="342900" marR="0" lvl="0" indent="-342900">
                        <a:lnSpc>
                          <a:spcPct val="114999"/>
                        </a:lnSpc>
                        <a:spcBef>
                          <a:spcPts val="0"/>
                        </a:spcBef>
                        <a:spcAft>
                          <a:spcPts val="1000"/>
                        </a:spcAft>
                        <a:buClr>
                          <a:srgbClr val="444C55"/>
                        </a:buClr>
                        <a:buFont typeface="Wingdings,Sans-Serif"/>
                        <a:buChar char=""/>
                      </a:pPr>
                      <a:r>
                        <a:rPr lang="en-US" sz="2000"/>
                        <a:t>Declined</a:t>
                      </a:r>
                      <a:endParaRPr lang="en-US" sz="2000" dirty="0"/>
                    </a:p>
                  </a:txBody>
                  <a:tcPr marL="68580" marR="68580" marT="0" marB="0"/>
                </a:tc>
                <a:extLst>
                  <a:ext uri="{0D108BD9-81ED-4DB2-BD59-A6C34878D82A}">
                    <a16:rowId xmlns:a16="http://schemas.microsoft.com/office/drawing/2014/main" val="2165230600"/>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2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7085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6DBF26-5AFD-951B-AAEC-EDDABFBF9E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886371-EE36-A003-A359-73525F0B1B03}"/>
              </a:ext>
            </a:extLst>
          </p:cNvPr>
          <p:cNvSpPr>
            <a:spLocks noGrp="1"/>
          </p:cNvSpPr>
          <p:nvPr>
            <p:ph type="title"/>
          </p:nvPr>
        </p:nvSpPr>
        <p:spPr>
          <a:noFill/>
          <a:ln>
            <a:noFill/>
          </a:ln>
        </p:spPr>
        <p:txBody>
          <a:bodyPr/>
          <a:lstStyle/>
          <a:p>
            <a:r>
              <a:rPr lang="en-US" dirty="0"/>
              <a:t>Patient Level Data Form</a:t>
            </a:r>
          </a:p>
        </p:txBody>
      </p:sp>
      <p:sp>
        <p:nvSpPr>
          <p:cNvPr id="4" name="Slide Number Placeholder 3">
            <a:extLst>
              <a:ext uri="{FF2B5EF4-FFF2-40B4-BE49-F238E27FC236}">
                <a16:creationId xmlns:a16="http://schemas.microsoft.com/office/drawing/2014/main" id="{65BF7A85-7AE6-10B1-3490-82E04CFFF822}"/>
              </a:ext>
            </a:extLst>
          </p:cNvPr>
          <p:cNvSpPr>
            <a:spLocks noGrp="1"/>
          </p:cNvSpPr>
          <p:nvPr>
            <p:ph type="sldNum" sz="quarter" idx="10"/>
          </p:nvPr>
        </p:nvSpPr>
        <p:spPr/>
        <p:txBody>
          <a:bodyPr/>
          <a:lstStyle/>
          <a:p>
            <a:fld id="{97033E4B-E3EB-3D46-B2D8-3159663620FA}" type="slidenum">
              <a:rPr lang="en-US" smtClean="0"/>
              <a:pPr/>
              <a:t>28</a:t>
            </a:fld>
            <a:endParaRPr lang="en-US"/>
          </a:p>
        </p:txBody>
      </p:sp>
      <p:sp>
        <p:nvSpPr>
          <p:cNvPr id="5" name="Footer Placeholder 4">
            <a:extLst>
              <a:ext uri="{FF2B5EF4-FFF2-40B4-BE49-F238E27FC236}">
                <a16:creationId xmlns:a16="http://schemas.microsoft.com/office/drawing/2014/main" id="{1B7AF936-2340-E348-11A3-3D2B199E9118}"/>
              </a:ext>
            </a:extLst>
          </p:cNvPr>
          <p:cNvSpPr>
            <a:spLocks noGrp="1"/>
          </p:cNvSpPr>
          <p:nvPr>
            <p:ph type="ftr" sz="quarter" idx="11"/>
          </p:nvPr>
        </p:nvSpPr>
        <p:spPr/>
        <p:txBody>
          <a:bodyPr/>
          <a:lstStyle/>
          <a:p>
            <a:pPr algn="l"/>
            <a:r>
              <a:rPr lang="en-US"/>
              <a:t>Illinois Perinatal Quality Collaborative</a:t>
            </a:r>
          </a:p>
        </p:txBody>
      </p:sp>
      <p:graphicFrame>
        <p:nvGraphicFramePr>
          <p:cNvPr id="7" name="Table 6">
            <a:extLst>
              <a:ext uri="{FF2B5EF4-FFF2-40B4-BE49-F238E27FC236}">
                <a16:creationId xmlns:a16="http://schemas.microsoft.com/office/drawing/2014/main" id="{E3697C67-F02A-B3F7-7D3D-7E718C19988D}"/>
              </a:ext>
            </a:extLst>
          </p:cNvPr>
          <p:cNvGraphicFramePr>
            <a:graphicFrameLocks noGrp="1"/>
          </p:cNvGraphicFramePr>
          <p:nvPr>
            <p:extLst>
              <p:ext uri="{D42A27DB-BD31-4B8C-83A1-F6EECF244321}">
                <p14:modId xmlns:p14="http://schemas.microsoft.com/office/powerpoint/2010/main" val="3800150324"/>
              </p:ext>
            </p:extLst>
          </p:nvPr>
        </p:nvGraphicFramePr>
        <p:xfrm>
          <a:off x="546340" y="1849270"/>
          <a:ext cx="11116563" cy="4247744"/>
        </p:xfrm>
        <a:graphic>
          <a:graphicData uri="http://schemas.openxmlformats.org/drawingml/2006/table">
            <a:tbl>
              <a:tblPr firstRow="1" firstCol="1" bandRow="1">
                <a:tableStyleId>{21E4AEA4-8DFA-4A89-87EB-49C32662AFE0}</a:tableStyleId>
              </a:tblPr>
              <a:tblGrid>
                <a:gridCol w="4280976">
                  <a:extLst>
                    <a:ext uri="{9D8B030D-6E8A-4147-A177-3AD203B41FA5}">
                      <a16:colId xmlns:a16="http://schemas.microsoft.com/office/drawing/2014/main" val="3667215020"/>
                    </a:ext>
                  </a:extLst>
                </a:gridCol>
                <a:gridCol w="4426323">
                  <a:extLst>
                    <a:ext uri="{9D8B030D-6E8A-4147-A177-3AD203B41FA5}">
                      <a16:colId xmlns:a16="http://schemas.microsoft.com/office/drawing/2014/main" val="1004739901"/>
                    </a:ext>
                  </a:extLst>
                </a:gridCol>
                <a:gridCol w="2409264">
                  <a:extLst>
                    <a:ext uri="{9D8B030D-6E8A-4147-A177-3AD203B41FA5}">
                      <a16:colId xmlns:a16="http://schemas.microsoft.com/office/drawing/2014/main" val="107976514"/>
                    </a:ext>
                  </a:extLst>
                </a:gridCol>
              </a:tblGrid>
              <a:tr h="350549">
                <a:tc gridSpan="3">
                  <a:txBody>
                    <a:bodyPr/>
                    <a:lstStyle/>
                    <a:p>
                      <a:pPr marL="0" marR="0">
                        <a:lnSpc>
                          <a:spcPct val="115000"/>
                        </a:lnSpc>
                        <a:spcBef>
                          <a:spcPts val="0"/>
                        </a:spcBef>
                        <a:spcAft>
                          <a:spcPts val="1000"/>
                        </a:spcAft>
                      </a:pPr>
                      <a:r>
                        <a:rPr lang="en-US" sz="2400" dirty="0">
                          <a:effectLst/>
                        </a:rPr>
                        <a:t>Birthing Person Demographics</a:t>
                      </a:r>
                    </a:p>
                  </a:txBody>
                  <a:tcPr marL="68580" marR="68580" marT="0" marB="0"/>
                </a:tc>
                <a:tc hMerge="1">
                  <a:txBody>
                    <a:bodyPr/>
                    <a:lstStyle/>
                    <a:p>
                      <a:endParaRPr lang="en-US"/>
                    </a:p>
                  </a:txBody>
                  <a:tcPr/>
                </a:tc>
                <a:tc hMerge="1">
                  <a:txBody>
                    <a:bodyPr/>
                    <a:lstStyle/>
                    <a:p>
                      <a:pPr marL="0" marR="0">
                        <a:lnSpc>
                          <a:spcPct val="115000"/>
                        </a:lnSpc>
                        <a:spcBef>
                          <a:spcPts val="0"/>
                        </a:spcBef>
                        <a:spcAft>
                          <a:spcPts val="1000"/>
                        </a:spcAft>
                      </a:pPr>
                      <a:endParaRPr lang="en-US" sz="1400" dirty="0">
                        <a:effectLst/>
                      </a:endParaRPr>
                    </a:p>
                  </a:txBody>
                  <a:tcPr marL="68580" marR="68580" marT="0" marB="0"/>
                </a:tc>
                <a:extLst>
                  <a:ext uri="{0D108BD9-81ED-4DB2-BD59-A6C34878D82A}">
                    <a16:rowId xmlns:a16="http://schemas.microsoft.com/office/drawing/2014/main" val="759819273"/>
                  </a:ext>
                </a:extLst>
              </a:tr>
              <a:tr h="1084937">
                <a:tc>
                  <a:txBody>
                    <a:bodyPr/>
                    <a:lstStyle/>
                    <a:p>
                      <a:pPr marL="0" marR="0">
                        <a:lnSpc>
                          <a:spcPct val="115000"/>
                        </a:lnSpc>
                        <a:spcBef>
                          <a:spcPts val="0"/>
                        </a:spcBef>
                        <a:spcAft>
                          <a:spcPts val="0"/>
                        </a:spcAft>
                      </a:pPr>
                      <a:r>
                        <a:rPr lang="en-US" sz="2000" dirty="0">
                          <a:effectLst/>
                        </a:rPr>
                        <a:t>Health Insurance Type (select one)</a:t>
                      </a:r>
                      <a:endParaRPr lang="en-US" sz="2000">
                        <a:effectLst/>
                        <a:latin typeface="Calibri"/>
                        <a:ea typeface="Times New Roman" panose="02020603050405020304" pitchFamily="18" charset="0"/>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Private Insurance</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Public Insurance (Medicaid)</a:t>
                      </a:r>
                    </a:p>
                    <a:p>
                      <a:pPr marL="342900" marR="0" lvl="0" indent="-342900">
                        <a:lnSpc>
                          <a:spcPct val="115000"/>
                        </a:lnSpc>
                        <a:spcBef>
                          <a:spcPts val="0"/>
                        </a:spcBef>
                        <a:spcAft>
                          <a:spcPts val="0"/>
                        </a:spcAft>
                        <a:buFont typeface="Symbol" panose="05050102010706020507" pitchFamily="18" charset="2"/>
                        <a:buChar char=""/>
                      </a:pPr>
                      <a:r>
                        <a:rPr lang="en-US" sz="2000">
                          <a:effectLst/>
                        </a:rPr>
                        <a:t>Self-Pay</a:t>
                      </a:r>
                      <a:endParaRPr lang="en-US" sz="2000" dirty="0">
                        <a:effectLst/>
                      </a:endParaRPr>
                    </a:p>
                  </a:txBody>
                  <a:tcPr marL="68580" marR="68580" marT="0" marB="0"/>
                </a:tc>
                <a:tc>
                  <a:txBody>
                    <a:bodyPr/>
                    <a:lstStyle/>
                    <a:p>
                      <a:pPr marL="342900" marR="0" lvl="0" indent="-342900">
                        <a:lnSpc>
                          <a:spcPct val="114999"/>
                        </a:lnSpc>
                        <a:spcBef>
                          <a:spcPts val="0"/>
                        </a:spcBef>
                        <a:spcAft>
                          <a:spcPts val="0"/>
                        </a:spcAft>
                        <a:buClr>
                          <a:srgbClr val="444C55"/>
                        </a:buClr>
                        <a:buFont typeface="Symbol,Sans-Serif"/>
                        <a:buChar char=""/>
                      </a:pPr>
                      <a:r>
                        <a:rPr lang="en-US" sz="2000" b="0" i="0" u="none" strike="noStrike" noProof="0">
                          <a:solidFill>
                            <a:srgbClr val="444C55"/>
                          </a:solidFill>
                          <a:effectLst/>
                          <a:latin typeface="Calibri"/>
                        </a:rPr>
                        <a:t>Uninsured</a:t>
                      </a:r>
                    </a:p>
                    <a:p>
                      <a:pPr marL="342900" marR="0" lvl="0" indent="-342900">
                        <a:lnSpc>
                          <a:spcPct val="114999"/>
                        </a:lnSpc>
                        <a:spcBef>
                          <a:spcPts val="0"/>
                        </a:spcBef>
                        <a:spcAft>
                          <a:spcPts val="0"/>
                        </a:spcAft>
                        <a:buClr>
                          <a:srgbClr val="444C55"/>
                        </a:buClr>
                        <a:buFont typeface="Symbol,Sans-Serif"/>
                        <a:buChar char=""/>
                      </a:pPr>
                      <a:r>
                        <a:rPr lang="en-US" sz="2000" b="0" i="0" u="none" strike="noStrike" noProof="0">
                          <a:solidFill>
                            <a:srgbClr val="444C55"/>
                          </a:solidFill>
                          <a:effectLst/>
                          <a:latin typeface="Calibri"/>
                        </a:rPr>
                        <a:t>Unknown</a:t>
                      </a:r>
                    </a:p>
                  </a:txBody>
                  <a:tcPr marL="68580" marR="68580" marT="0" marB="0"/>
                </a:tc>
                <a:extLst>
                  <a:ext uri="{0D108BD9-81ED-4DB2-BD59-A6C34878D82A}">
                    <a16:rowId xmlns:a16="http://schemas.microsoft.com/office/drawing/2014/main" val="3696805757"/>
                  </a:ext>
                </a:extLst>
              </a:tr>
              <a:tr h="867949">
                <a:tc>
                  <a:txBody>
                    <a:bodyPr/>
                    <a:lstStyle/>
                    <a:p>
                      <a:pPr marL="0" marR="0">
                        <a:lnSpc>
                          <a:spcPct val="115000"/>
                        </a:lnSpc>
                        <a:spcBef>
                          <a:spcPts val="0"/>
                        </a:spcBef>
                        <a:spcAft>
                          <a:spcPts val="1000"/>
                        </a:spcAft>
                      </a:pPr>
                      <a:r>
                        <a:rPr lang="en-US" sz="2000">
                          <a:effectLst/>
                        </a:rPr>
                        <a:t>Birthing Person Ethnicity (select one)</a:t>
                      </a:r>
                      <a:endParaRPr lang="en-US" sz="2000" dirty="0">
                        <a:effectLst/>
                      </a:endParaRPr>
                    </a:p>
                    <a:p>
                      <a:pPr marL="0" marR="0">
                        <a:lnSpc>
                          <a:spcPct val="115000"/>
                        </a:lnSpc>
                        <a:spcBef>
                          <a:spcPts val="0"/>
                        </a:spcBef>
                        <a:spcAft>
                          <a:spcPts val="1000"/>
                        </a:spcAft>
                      </a:pPr>
                      <a:endParaRPr lang="en-US" sz="2000">
                        <a:effectLst/>
                        <a:latin typeface="Calibri"/>
                        <a:ea typeface="Times New Roman" panose="02020603050405020304" pitchFamily="18" charset="0"/>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2000">
                          <a:effectLst/>
                        </a:rPr>
                        <a:t>Non-Hispanic</a:t>
                      </a:r>
                      <a:endParaRPr lang="en-US" sz="2000" dirty="0">
                        <a:effectLst/>
                      </a:endParaRPr>
                    </a:p>
                  </a:txBody>
                  <a:tcPr marL="68580" marR="68580" marT="0" marB="0"/>
                </a:tc>
                <a:tc>
                  <a:txBody>
                    <a:bodyPr/>
                    <a:lstStyle/>
                    <a:p>
                      <a:pPr marL="342900" marR="0" lvl="0" indent="-342900">
                        <a:lnSpc>
                          <a:spcPct val="114999"/>
                        </a:lnSpc>
                        <a:spcBef>
                          <a:spcPts val="0"/>
                        </a:spcBef>
                        <a:spcAft>
                          <a:spcPts val="0"/>
                        </a:spcAft>
                        <a:buClr>
                          <a:srgbClr val="444C55"/>
                        </a:buClr>
                        <a:buFont typeface="Symbol,Sans-Serif"/>
                        <a:buChar char=""/>
                      </a:pPr>
                      <a:r>
                        <a:rPr lang="en-US" sz="2000" b="0" i="0" u="none" strike="noStrike" noProof="0">
                          <a:solidFill>
                            <a:srgbClr val="444C55"/>
                          </a:solidFill>
                          <a:effectLst/>
                          <a:latin typeface="Calibri"/>
                        </a:rPr>
                        <a:t>Unknown Ethnicity</a:t>
                      </a:r>
                    </a:p>
                    <a:p>
                      <a:pPr marL="342900" marR="0" lvl="0" indent="-342900">
                        <a:lnSpc>
                          <a:spcPct val="114999"/>
                        </a:lnSpc>
                        <a:spcBef>
                          <a:spcPts val="0"/>
                        </a:spcBef>
                        <a:spcAft>
                          <a:spcPts val="1000"/>
                        </a:spcAft>
                        <a:buClr>
                          <a:srgbClr val="444C55"/>
                        </a:buClr>
                        <a:buFont typeface="Symbol,Sans-Serif"/>
                        <a:buChar char=""/>
                      </a:pPr>
                      <a:r>
                        <a:rPr lang="en-US" sz="2000" b="0" i="0" u="none" strike="noStrike" noProof="0">
                          <a:solidFill>
                            <a:srgbClr val="444C55"/>
                          </a:solidFill>
                          <a:effectLst/>
                          <a:latin typeface="Calibri"/>
                        </a:rPr>
                        <a:t>Declined</a:t>
                      </a:r>
                    </a:p>
                  </a:txBody>
                  <a:tcPr marL="68580" marR="68580" marT="0" marB="0"/>
                </a:tc>
                <a:extLst>
                  <a:ext uri="{0D108BD9-81ED-4DB2-BD59-A6C34878D82A}">
                    <a16:rowId xmlns:a16="http://schemas.microsoft.com/office/drawing/2014/main" val="3749065719"/>
                  </a:ext>
                </a:extLst>
              </a:tr>
              <a:tr h="1735898">
                <a:tc>
                  <a:txBody>
                    <a:bodyPr/>
                    <a:lstStyle/>
                    <a:p>
                      <a:pPr marL="0" marR="0">
                        <a:lnSpc>
                          <a:spcPct val="115000"/>
                        </a:lnSpc>
                        <a:spcBef>
                          <a:spcPts val="0"/>
                        </a:spcBef>
                        <a:spcAft>
                          <a:spcPts val="0"/>
                        </a:spcAft>
                      </a:pPr>
                      <a:r>
                        <a:rPr lang="en-US" sz="2000">
                          <a:effectLst/>
                        </a:rPr>
                        <a:t>Birthing Person Race (select all that apply)</a:t>
                      </a:r>
                      <a:endParaRPr lang="en-US" sz="2000" dirty="0">
                        <a:effectLst/>
                      </a:endParaRPr>
                    </a:p>
                    <a:p>
                      <a:pPr marL="0" marR="0">
                        <a:lnSpc>
                          <a:spcPct val="115000"/>
                        </a:lnSpc>
                        <a:spcBef>
                          <a:spcPts val="0"/>
                        </a:spcBef>
                        <a:spcAft>
                          <a:spcPts val="0"/>
                        </a:spcAft>
                      </a:pPr>
                      <a:endParaRPr lang="en-US" sz="2000" dirty="0">
                        <a:effectLst/>
                      </a:endParaRPr>
                    </a:p>
                    <a:p>
                      <a:pPr marL="0" marR="0">
                        <a:lnSpc>
                          <a:spcPct val="115000"/>
                        </a:lnSpc>
                        <a:spcBef>
                          <a:spcPts val="0"/>
                        </a:spcBef>
                        <a:spcAft>
                          <a:spcPts val="0"/>
                        </a:spcAft>
                      </a:pPr>
                      <a:endParaRPr lang="en-US" sz="2000" dirty="0">
                        <a:effectLst/>
                      </a:endParaRPr>
                    </a:p>
                    <a:p>
                      <a:pPr marL="0" marR="0">
                        <a:lnSpc>
                          <a:spcPct val="115000"/>
                        </a:lnSpc>
                        <a:spcBef>
                          <a:spcPts val="0"/>
                        </a:spcBef>
                        <a:spcAft>
                          <a:spcPts val="0"/>
                        </a:spcAft>
                      </a:pPr>
                      <a:endParaRPr lang="en-US" sz="2000">
                        <a:effectLst/>
                        <a:latin typeface="Calibri"/>
                        <a:ea typeface="Times New Roman" panose="02020603050405020304" pitchFamily="18" charset="0"/>
                        <a:cs typeface="Times New Roman"/>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2000" dirty="0">
                          <a:effectLst/>
                        </a:rPr>
                        <a:t>Asian</a:t>
                      </a:r>
                    </a:p>
                    <a:p>
                      <a:pPr marL="342900" marR="0" lvl="0" indent="-342900">
                        <a:lnSpc>
                          <a:spcPct val="115000"/>
                        </a:lnSpc>
                        <a:spcBef>
                          <a:spcPts val="0"/>
                        </a:spcBef>
                        <a:spcAft>
                          <a:spcPts val="0"/>
                        </a:spcAft>
                        <a:buFont typeface="Wingdings" panose="05000000000000000000" pitchFamily="2" charset="2"/>
                        <a:buChar char=""/>
                      </a:pPr>
                      <a:r>
                        <a:rPr lang="en-US" sz="2000" dirty="0">
                          <a:effectLst/>
                        </a:rPr>
                        <a:t>Black</a:t>
                      </a:r>
                    </a:p>
                    <a:p>
                      <a:pPr marL="342900" marR="0" lvl="0" indent="-342900">
                        <a:lnSpc>
                          <a:spcPct val="115000"/>
                        </a:lnSpc>
                        <a:spcBef>
                          <a:spcPts val="0"/>
                        </a:spcBef>
                        <a:spcAft>
                          <a:spcPts val="0"/>
                        </a:spcAft>
                        <a:buFont typeface="Wingdings" panose="05000000000000000000" pitchFamily="2" charset="2"/>
                        <a:buChar char=""/>
                      </a:pPr>
                      <a:r>
                        <a:rPr lang="en-US" sz="2000" dirty="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2000">
                          <a:effectLst/>
                        </a:rPr>
                        <a:t>Native Hawaiian or Pacific Islander</a:t>
                      </a:r>
                      <a:endParaRPr lang="en-US" sz="2000" dirty="0">
                        <a:effectLst/>
                      </a:endParaRPr>
                    </a:p>
                  </a:txBody>
                  <a:tcPr marL="68580" marR="68580" marT="0" marB="0"/>
                </a:tc>
                <a:tc>
                  <a:txBody>
                    <a:bodyPr/>
                    <a:lstStyle/>
                    <a:p>
                      <a:pPr marL="342900" marR="0" lvl="0" indent="-342900">
                        <a:lnSpc>
                          <a:spcPct val="114999"/>
                        </a:lnSpc>
                        <a:spcBef>
                          <a:spcPts val="0"/>
                        </a:spcBef>
                        <a:spcAft>
                          <a:spcPts val="0"/>
                        </a:spcAft>
                        <a:buClr>
                          <a:srgbClr val="444C55"/>
                        </a:buClr>
                        <a:buFont typeface="Wingdings,Sans-Serif"/>
                        <a:buChar char=""/>
                      </a:pPr>
                      <a:r>
                        <a:rPr lang="en-US" sz="2000" b="0" i="0" u="none" strike="noStrike" noProof="0">
                          <a:solidFill>
                            <a:srgbClr val="444C55"/>
                          </a:solidFill>
                          <a:effectLst/>
                          <a:latin typeface="Calibri"/>
                        </a:rPr>
                        <a:t>White</a:t>
                      </a:r>
                    </a:p>
                    <a:p>
                      <a:pPr marL="342900" marR="0" lvl="0" indent="-342900">
                        <a:lnSpc>
                          <a:spcPct val="114999"/>
                        </a:lnSpc>
                        <a:spcBef>
                          <a:spcPts val="0"/>
                        </a:spcBef>
                        <a:spcAft>
                          <a:spcPts val="0"/>
                        </a:spcAft>
                        <a:buClr>
                          <a:srgbClr val="444C55"/>
                        </a:buClr>
                        <a:buFont typeface="Wingdings,Sans-Serif"/>
                        <a:buChar char=""/>
                      </a:pPr>
                      <a:r>
                        <a:rPr lang="en-US" sz="2000" b="0" i="0" u="none" strike="noStrike" noProof="0">
                          <a:solidFill>
                            <a:srgbClr val="444C55"/>
                          </a:solidFill>
                          <a:effectLst/>
                          <a:latin typeface="Calibri"/>
                        </a:rPr>
                        <a:t>Other Race: ____</a:t>
                      </a:r>
                    </a:p>
                    <a:p>
                      <a:pPr marL="342900" marR="0" lvl="0" indent="-342900">
                        <a:lnSpc>
                          <a:spcPct val="114999"/>
                        </a:lnSpc>
                        <a:spcBef>
                          <a:spcPts val="0"/>
                        </a:spcBef>
                        <a:spcAft>
                          <a:spcPts val="0"/>
                        </a:spcAft>
                        <a:buClr>
                          <a:srgbClr val="444C55"/>
                        </a:buClr>
                        <a:buFont typeface="Wingdings,Sans-Serif"/>
                        <a:buChar char=""/>
                      </a:pPr>
                      <a:r>
                        <a:rPr lang="en-US" sz="2000" b="0" i="0" u="none" strike="noStrike" noProof="0">
                          <a:solidFill>
                            <a:srgbClr val="444C55"/>
                          </a:solidFill>
                          <a:effectLst/>
                          <a:latin typeface="Calibri"/>
                        </a:rPr>
                        <a:t>Unknown Race</a:t>
                      </a:r>
                    </a:p>
                    <a:p>
                      <a:pPr marL="342900" marR="0" lvl="0" indent="-342900">
                        <a:lnSpc>
                          <a:spcPct val="114999"/>
                        </a:lnSpc>
                        <a:spcBef>
                          <a:spcPts val="0"/>
                        </a:spcBef>
                        <a:spcAft>
                          <a:spcPts val="1000"/>
                        </a:spcAft>
                        <a:buClr>
                          <a:srgbClr val="444C55"/>
                        </a:buClr>
                        <a:buFont typeface="Wingdings,Sans-Serif"/>
                        <a:buChar char=""/>
                      </a:pPr>
                      <a:r>
                        <a:rPr lang="en-US" sz="2000" b="0" i="0" u="none" strike="noStrike" noProof="0">
                          <a:solidFill>
                            <a:srgbClr val="444C55"/>
                          </a:solidFill>
                          <a:effectLst/>
                          <a:latin typeface="Calibri"/>
                        </a:rPr>
                        <a:t>Declined</a:t>
                      </a:r>
                    </a:p>
                  </a:txBody>
                  <a:tcPr marL="68580" marR="68580" marT="0" marB="0"/>
                </a:tc>
                <a:extLst>
                  <a:ext uri="{0D108BD9-81ED-4DB2-BD59-A6C34878D82A}">
                    <a16:rowId xmlns:a16="http://schemas.microsoft.com/office/drawing/2014/main" val="655273382"/>
                  </a:ext>
                </a:extLst>
              </a:tr>
            </a:tbl>
          </a:graphicData>
        </a:graphic>
      </p:graphicFrame>
    </p:spTree>
    <p:extLst>
      <p:ext uri="{BB962C8B-B14F-4D97-AF65-F5344CB8AC3E}">
        <p14:creationId xmlns:p14="http://schemas.microsoft.com/office/powerpoint/2010/main" val="17607528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Patient Level Data Form</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916404730"/>
              </p:ext>
            </p:extLst>
          </p:nvPr>
        </p:nvGraphicFramePr>
        <p:xfrm>
          <a:off x="551745" y="1687279"/>
          <a:ext cx="10838008" cy="4601464"/>
        </p:xfrm>
        <a:graphic>
          <a:graphicData uri="http://schemas.openxmlformats.org/drawingml/2006/table">
            <a:tbl>
              <a:tblPr firstRow="1" firstCol="1" bandRow="1">
                <a:tableStyleId>{21E4AEA4-8DFA-4A89-87EB-49C32662AFE0}</a:tableStyleId>
              </a:tblPr>
              <a:tblGrid>
                <a:gridCol w="6225760">
                  <a:extLst>
                    <a:ext uri="{9D8B030D-6E8A-4147-A177-3AD203B41FA5}">
                      <a16:colId xmlns:a16="http://schemas.microsoft.com/office/drawing/2014/main" val="1123736616"/>
                    </a:ext>
                  </a:extLst>
                </a:gridCol>
                <a:gridCol w="4612248">
                  <a:extLst>
                    <a:ext uri="{9D8B030D-6E8A-4147-A177-3AD203B41FA5}">
                      <a16:colId xmlns:a16="http://schemas.microsoft.com/office/drawing/2014/main" val="920528928"/>
                    </a:ext>
                  </a:extLst>
                </a:gridCol>
              </a:tblGrid>
              <a:tr h="557839">
                <a:tc>
                  <a:txBody>
                    <a:bodyPr/>
                    <a:lstStyle/>
                    <a:p>
                      <a:pPr marL="0" marR="0">
                        <a:lnSpc>
                          <a:spcPct val="107000"/>
                        </a:lnSpc>
                        <a:spcBef>
                          <a:spcPts val="0"/>
                        </a:spcBef>
                        <a:spcAft>
                          <a:spcPts val="800"/>
                        </a:spcAft>
                      </a:pPr>
                      <a:r>
                        <a:rPr lang="en-US" sz="2000" dirty="0">
                          <a:effectLst/>
                        </a:rPr>
                        <a:t>Parent(s)-reported infant race &amp; ethnicity documented in the infant medical record</a:t>
                      </a:r>
                      <a:endParaRPr lang="en-US" sz="200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b="0" dirty="0">
                          <a:solidFill>
                            <a:schemeClr val="tx1"/>
                          </a:solidFill>
                          <a:effectLst/>
                        </a:rPr>
                        <a:t>Yes</a:t>
                      </a:r>
                    </a:p>
                    <a:p>
                      <a:pPr marL="342900" marR="0" lvl="0" indent="-342900">
                        <a:lnSpc>
                          <a:spcPct val="115000"/>
                        </a:lnSpc>
                        <a:spcBef>
                          <a:spcPts val="0"/>
                        </a:spcBef>
                        <a:spcAft>
                          <a:spcPts val="0"/>
                        </a:spcAft>
                        <a:buFont typeface="Symbol" panose="05050102010706020507" pitchFamily="18" charset="2"/>
                        <a:buChar char=""/>
                      </a:pPr>
                      <a:r>
                        <a:rPr lang="en-US" sz="2000" b="0" dirty="0">
                          <a:solidFill>
                            <a:schemeClr val="tx1"/>
                          </a:solidFill>
                          <a:effectLst/>
                        </a:rPr>
                        <a:t>No</a:t>
                      </a:r>
                    </a:p>
                  </a:txBody>
                  <a:tcPr marL="39535" marR="39535" marT="0" marB="0">
                    <a:solidFill>
                      <a:srgbClr val="FDEAEE"/>
                    </a:solidFill>
                  </a:tcPr>
                </a:tc>
                <a:extLst>
                  <a:ext uri="{0D108BD9-81ED-4DB2-BD59-A6C34878D82A}">
                    <a16:rowId xmlns:a16="http://schemas.microsoft.com/office/drawing/2014/main" val="3231595980"/>
                  </a:ext>
                </a:extLst>
              </a:tr>
              <a:tr h="1126803">
                <a:tc>
                  <a:txBody>
                    <a:bodyPr/>
                    <a:lstStyle/>
                    <a:p>
                      <a:pPr marL="0" marR="0">
                        <a:lnSpc>
                          <a:spcPct val="107000"/>
                        </a:lnSpc>
                        <a:spcBef>
                          <a:spcPts val="0"/>
                        </a:spcBef>
                        <a:spcAft>
                          <a:spcPts val="1000"/>
                        </a:spcAft>
                      </a:pPr>
                      <a:r>
                        <a:rPr lang="en-US" sz="2000" dirty="0">
                          <a:effectLst/>
                        </a:rPr>
                        <a:t>What was the birthing person's preferred language to receive medical updates as documented in the medical record?</a:t>
                      </a:r>
                      <a:endParaRPr lang="en-US" sz="2000" dirty="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English</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Spanish</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Polish</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Arabic</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Urdu</a:t>
                      </a:r>
                    </a:p>
                    <a:p>
                      <a:pPr marL="342900" marR="0" lvl="0" indent="-342900">
                        <a:lnSpc>
                          <a:spcPct val="115000"/>
                        </a:lnSpc>
                        <a:spcBef>
                          <a:spcPts val="0"/>
                        </a:spcBef>
                        <a:spcAft>
                          <a:spcPts val="1000"/>
                        </a:spcAft>
                        <a:buFont typeface="Symbol" panose="05050102010706020507" pitchFamily="18" charset="2"/>
                        <a:buChar char=""/>
                      </a:pPr>
                      <a:r>
                        <a:rPr lang="en-US" sz="2000" dirty="0">
                          <a:effectLst/>
                        </a:rPr>
                        <a:t>Other: _______</a:t>
                      </a:r>
                    </a:p>
                    <a:p>
                      <a:pPr marL="342900" marR="0" lvl="0" indent="-342900">
                        <a:lnSpc>
                          <a:spcPct val="114999"/>
                        </a:lnSpc>
                        <a:spcBef>
                          <a:spcPts val="0"/>
                        </a:spcBef>
                        <a:spcAft>
                          <a:spcPts val="1000"/>
                        </a:spcAft>
                        <a:buFont typeface="Symbol" panose="05050102010706020507" pitchFamily="18" charset="2"/>
                        <a:buChar char=""/>
                      </a:pPr>
                      <a:r>
                        <a:rPr lang="en-US" sz="2000" dirty="0">
                          <a:effectLst/>
                        </a:rPr>
                        <a:t>Not documented</a:t>
                      </a:r>
                    </a:p>
                  </a:txBody>
                  <a:tcPr marL="39535" marR="39535" marT="0" marB="0"/>
                </a:tc>
                <a:extLst>
                  <a:ext uri="{0D108BD9-81ED-4DB2-BD59-A6C34878D82A}">
                    <a16:rowId xmlns:a16="http://schemas.microsoft.com/office/drawing/2014/main" val="142995013"/>
                  </a:ext>
                </a:extLst>
              </a:tr>
              <a:tr h="368184">
                <a:tc>
                  <a:txBody>
                    <a:bodyPr/>
                    <a:lstStyle/>
                    <a:p>
                      <a:pPr marL="0" marR="0">
                        <a:lnSpc>
                          <a:spcPct val="107000"/>
                        </a:lnSpc>
                        <a:spcBef>
                          <a:spcPts val="0"/>
                        </a:spcBef>
                        <a:spcAft>
                          <a:spcPts val="1000"/>
                        </a:spcAft>
                      </a:pPr>
                      <a:r>
                        <a:rPr lang="en-US" sz="2000" dirty="0">
                          <a:effectLst/>
                        </a:rPr>
                        <a:t>Documentation of a qualified interpreter used to provide safe sleep education to the parent or caregiver</a:t>
                      </a:r>
                      <a:endParaRPr lang="en-US" sz="200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Yes</a:t>
                      </a:r>
                    </a:p>
                    <a:p>
                      <a:pPr marL="342900" marR="0" lvl="0" indent="-342900">
                        <a:lnSpc>
                          <a:spcPct val="115000"/>
                        </a:lnSpc>
                        <a:spcBef>
                          <a:spcPts val="0"/>
                        </a:spcBef>
                        <a:spcAft>
                          <a:spcPts val="1000"/>
                        </a:spcAft>
                        <a:buFont typeface="Symbol" panose="05050102010706020507" pitchFamily="18" charset="2"/>
                        <a:buChar char=""/>
                      </a:pPr>
                      <a:r>
                        <a:rPr lang="en-US" sz="2000" dirty="0">
                          <a:effectLst/>
                        </a:rPr>
                        <a:t>No</a:t>
                      </a:r>
                      <a:endParaRPr lang="en-US" sz="2000">
                        <a:effectLst/>
                        <a:latin typeface="Calibri"/>
                        <a:ea typeface="Times New Roman" panose="02020603050405020304" pitchFamily="18" charset="0"/>
                        <a:cs typeface="Times New Roman"/>
                      </a:endParaRPr>
                    </a:p>
                  </a:txBody>
                  <a:tcPr marL="39535" marR="39535" marT="0" marB="0"/>
                </a:tc>
                <a:extLst>
                  <a:ext uri="{0D108BD9-81ED-4DB2-BD59-A6C34878D82A}">
                    <a16:rowId xmlns:a16="http://schemas.microsoft.com/office/drawing/2014/main" val="3225390109"/>
                  </a:ext>
                </a:extLst>
              </a:tr>
              <a:tr h="597219">
                <a:tc>
                  <a:txBody>
                    <a:bodyPr/>
                    <a:lstStyle/>
                    <a:p>
                      <a:pPr marL="0" marR="0" lvl="0">
                        <a:lnSpc>
                          <a:spcPct val="107000"/>
                        </a:lnSpc>
                        <a:spcBef>
                          <a:spcPts val="0"/>
                        </a:spcBef>
                        <a:spcAft>
                          <a:spcPts val="800"/>
                        </a:spcAft>
                        <a:buNone/>
                      </a:pPr>
                      <a:r>
                        <a:rPr lang="en-US" sz="2000" dirty="0">
                          <a:effectLst/>
                        </a:rPr>
                        <a:t>Documentation of parents or caregivers reporting an understanding of a safe sleep environment</a:t>
                      </a:r>
                      <a:endParaRPr lang="en-US" sz="200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4999"/>
                        </a:lnSpc>
                        <a:spcBef>
                          <a:spcPts val="0"/>
                        </a:spcBef>
                        <a:spcAft>
                          <a:spcPts val="0"/>
                        </a:spcAft>
                        <a:buFont typeface="Symbol" panose="05050102010706020507" pitchFamily="18" charset="2"/>
                        <a:buChar char=""/>
                      </a:pPr>
                      <a:r>
                        <a:rPr lang="en-US" sz="2000" dirty="0">
                          <a:effectLst/>
                        </a:rPr>
                        <a:t>Yes</a:t>
                      </a:r>
                      <a:endParaRPr lang="en-US"/>
                    </a:p>
                    <a:p>
                      <a:pPr marL="342900" marR="0" lvl="0" indent="-342900">
                        <a:lnSpc>
                          <a:spcPct val="114999"/>
                        </a:lnSpc>
                        <a:spcBef>
                          <a:spcPts val="0"/>
                        </a:spcBef>
                        <a:spcAft>
                          <a:spcPts val="0"/>
                        </a:spcAft>
                        <a:buFont typeface="Symbol" panose="05050102010706020507" pitchFamily="18" charset="2"/>
                        <a:buChar char=""/>
                      </a:pPr>
                      <a:r>
                        <a:rPr lang="en-US" sz="2000" dirty="0">
                          <a:effectLst/>
                        </a:rPr>
                        <a:t>No</a:t>
                      </a:r>
                      <a:endParaRPr lang="en-US" dirty="0"/>
                    </a:p>
                  </a:txBody>
                  <a:tcPr marL="39535" marR="39535" marT="0" marB="0"/>
                </a:tc>
                <a:extLst>
                  <a:ext uri="{0D108BD9-81ED-4DB2-BD59-A6C34878D82A}">
                    <a16:rowId xmlns:a16="http://schemas.microsoft.com/office/drawing/2014/main" val="2003939389"/>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2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023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Welcome Kiela! </a:t>
            </a:r>
            <a:endParaRPr lang="en-US"/>
          </a:p>
        </p:txBody>
      </p:sp>
      <p:sp>
        <p:nvSpPr>
          <p:cNvPr id="3" name="Content Placeholder 2"/>
          <p:cNvSpPr>
            <a:spLocks noGrp="1"/>
          </p:cNvSpPr>
          <p:nvPr>
            <p:ph idx="1"/>
          </p:nvPr>
        </p:nvSpPr>
        <p:spPr>
          <a:xfrm>
            <a:off x="-943155" y="1854380"/>
            <a:ext cx="9473514" cy="4351338"/>
          </a:xfrm>
        </p:spPr>
        <p:txBody>
          <a:bodyPr vert="horz" lIns="91440" tIns="45720" rIns="91440" bIns="45720" rtlCol="0" anchor="t">
            <a:noAutofit/>
          </a:bodyPr>
          <a:lstStyle/>
          <a:p>
            <a:pPr marL="0" indent="0" algn="ctr">
              <a:buNone/>
            </a:pPr>
            <a:r>
              <a:rPr lang="en-US">
                <a:ea typeface="Lato"/>
                <a:cs typeface="Lato"/>
              </a:rPr>
              <a:t>Please welcome our newest ILPQC team member: </a:t>
            </a:r>
            <a:endParaRPr lang="en-US"/>
          </a:p>
          <a:p>
            <a:pPr marL="0" indent="0" algn="ctr">
              <a:buNone/>
            </a:pPr>
            <a:endParaRPr lang="en-US"/>
          </a:p>
          <a:p>
            <a:pPr marL="0" indent="0" algn="ctr">
              <a:buNone/>
            </a:pPr>
            <a:r>
              <a:rPr lang="en-US" sz="3600" b="1">
                <a:solidFill>
                  <a:schemeClr val="accent1"/>
                </a:solidFill>
                <a:ea typeface="Lato"/>
                <a:cs typeface="Lato"/>
              </a:rPr>
              <a:t>Kiela Moreno, MPH</a:t>
            </a:r>
          </a:p>
          <a:p>
            <a:pPr marL="0" indent="0" algn="ctr">
              <a:buNone/>
            </a:pPr>
            <a:r>
              <a:rPr lang="en-US" sz="3600" b="1">
                <a:solidFill>
                  <a:schemeClr val="accent1"/>
                </a:solidFill>
                <a:ea typeface="Lato"/>
                <a:cs typeface="Lato"/>
              </a:rPr>
              <a:t>ILPQC Project Coordinator </a:t>
            </a:r>
            <a:endParaRPr lang="en-US" sz="3600" b="1">
              <a:solidFill>
                <a:schemeClr val="accent1"/>
              </a:solidFill>
            </a:endParaRPr>
          </a:p>
        </p:txBody>
      </p:sp>
      <p:sp>
        <p:nvSpPr>
          <p:cNvPr id="4" name="Slide Number Placeholder 3"/>
          <p:cNvSpPr>
            <a:spLocks noGrp="1"/>
          </p:cNvSpPr>
          <p:nvPr>
            <p:ph type="sldNum" sz="quarter" idx="10"/>
          </p:nvPr>
        </p:nvSpPr>
        <p:spPr/>
        <p:txBody>
          <a:bodyPr/>
          <a:lstStyle/>
          <a:p>
            <a:fld id="{97033E4B-E3EB-3D46-B2D8-3159663620FA}" type="slidenum">
              <a:rPr lang="en-US" smtClean="0"/>
              <a:pPr/>
              <a:t>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descr="A person with a white shirt&#10;&#10;Description automatically generated">
            <a:extLst>
              <a:ext uri="{FF2B5EF4-FFF2-40B4-BE49-F238E27FC236}">
                <a16:creationId xmlns:a16="http://schemas.microsoft.com/office/drawing/2014/main" id="{5F5B414C-641F-D23A-485E-78838F898689}"/>
              </a:ext>
            </a:extLst>
          </p:cNvPr>
          <p:cNvPicPr>
            <a:picLocks noChangeAspect="1"/>
          </p:cNvPicPr>
          <p:nvPr/>
        </p:nvPicPr>
        <p:blipFill>
          <a:blip r:embed="rId2"/>
          <a:stretch>
            <a:fillRect/>
          </a:stretch>
        </p:blipFill>
        <p:spPr>
          <a:xfrm>
            <a:off x="6671093" y="2446546"/>
            <a:ext cx="4183812" cy="27844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921768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8DC0D-E594-6832-8202-78261BFCC8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E65BC2-3E0A-5267-2728-E75C5322EA1E}"/>
              </a:ext>
            </a:extLst>
          </p:cNvPr>
          <p:cNvSpPr>
            <a:spLocks noGrp="1"/>
          </p:cNvSpPr>
          <p:nvPr>
            <p:ph type="title"/>
          </p:nvPr>
        </p:nvSpPr>
        <p:spPr>
          <a:xfrm>
            <a:off x="609600" y="5691"/>
            <a:ext cx="10972800" cy="1325563"/>
          </a:xfrm>
          <a:noFill/>
        </p:spPr>
        <p:txBody>
          <a:bodyPr/>
          <a:lstStyle/>
          <a:p>
            <a:r>
              <a:rPr lang="en-US" dirty="0"/>
              <a:t>Patient Level Data Form</a:t>
            </a:r>
          </a:p>
        </p:txBody>
      </p:sp>
      <p:sp>
        <p:nvSpPr>
          <p:cNvPr id="4" name="Slide Number Placeholder 3">
            <a:extLst>
              <a:ext uri="{FF2B5EF4-FFF2-40B4-BE49-F238E27FC236}">
                <a16:creationId xmlns:a16="http://schemas.microsoft.com/office/drawing/2014/main" id="{016DE043-7584-6873-6F9B-3673CAAAF1F6}"/>
              </a:ext>
            </a:extLst>
          </p:cNvPr>
          <p:cNvSpPr>
            <a:spLocks noGrp="1"/>
          </p:cNvSpPr>
          <p:nvPr>
            <p:ph type="sldNum" sz="quarter" idx="10"/>
          </p:nvPr>
        </p:nvSpPr>
        <p:spPr/>
        <p:txBody>
          <a:bodyPr/>
          <a:lstStyle/>
          <a:p>
            <a:fld id="{97033E4B-E3EB-3D46-B2D8-3159663620FA}" type="slidenum">
              <a:rPr lang="en-US" smtClean="0"/>
              <a:pPr/>
              <a:t>30</a:t>
            </a:fld>
            <a:endParaRPr lang="en-US"/>
          </a:p>
        </p:txBody>
      </p:sp>
      <p:sp>
        <p:nvSpPr>
          <p:cNvPr id="5" name="Footer Placeholder 4">
            <a:extLst>
              <a:ext uri="{FF2B5EF4-FFF2-40B4-BE49-F238E27FC236}">
                <a16:creationId xmlns:a16="http://schemas.microsoft.com/office/drawing/2014/main" id="{4DBD53BF-FD96-F1B4-39F4-2CBB4705EDF4}"/>
              </a:ext>
            </a:extLst>
          </p:cNvPr>
          <p:cNvSpPr>
            <a:spLocks noGrp="1"/>
          </p:cNvSpPr>
          <p:nvPr>
            <p:ph type="ftr" sz="quarter" idx="11"/>
          </p:nvPr>
        </p:nvSpPr>
        <p:spPr/>
        <p:txBody>
          <a:bodyPr/>
          <a:lstStyle/>
          <a:p>
            <a:pPr algn="l"/>
            <a:r>
              <a:rPr lang="en-US"/>
              <a:t>Illinois Perinatal Quality Collaborative</a:t>
            </a:r>
          </a:p>
        </p:txBody>
      </p:sp>
      <p:graphicFrame>
        <p:nvGraphicFramePr>
          <p:cNvPr id="8" name="Table 7">
            <a:extLst>
              <a:ext uri="{FF2B5EF4-FFF2-40B4-BE49-F238E27FC236}">
                <a16:creationId xmlns:a16="http://schemas.microsoft.com/office/drawing/2014/main" id="{7983D868-A342-276F-1CAA-03CC6C829F2D}"/>
              </a:ext>
            </a:extLst>
          </p:cNvPr>
          <p:cNvGraphicFramePr>
            <a:graphicFrameLocks noGrp="1"/>
          </p:cNvGraphicFramePr>
          <p:nvPr>
            <p:extLst>
              <p:ext uri="{D42A27DB-BD31-4B8C-83A1-F6EECF244321}">
                <p14:modId xmlns:p14="http://schemas.microsoft.com/office/powerpoint/2010/main" val="2553598139"/>
              </p:ext>
            </p:extLst>
          </p:nvPr>
        </p:nvGraphicFramePr>
        <p:xfrm>
          <a:off x="626554" y="1474682"/>
          <a:ext cx="10961512" cy="4670298"/>
        </p:xfrm>
        <a:graphic>
          <a:graphicData uri="http://schemas.openxmlformats.org/drawingml/2006/table">
            <a:tbl>
              <a:tblPr firstRow="1" firstCol="1" bandRow="1">
                <a:tableStyleId>{21E4AEA4-8DFA-4A89-87EB-49C32662AFE0}</a:tableStyleId>
              </a:tblPr>
              <a:tblGrid>
                <a:gridCol w="6181911">
                  <a:extLst>
                    <a:ext uri="{9D8B030D-6E8A-4147-A177-3AD203B41FA5}">
                      <a16:colId xmlns:a16="http://schemas.microsoft.com/office/drawing/2014/main" val="1360226053"/>
                    </a:ext>
                  </a:extLst>
                </a:gridCol>
                <a:gridCol w="4779601">
                  <a:extLst>
                    <a:ext uri="{9D8B030D-6E8A-4147-A177-3AD203B41FA5}">
                      <a16:colId xmlns:a16="http://schemas.microsoft.com/office/drawing/2014/main" val="3275742663"/>
                    </a:ext>
                  </a:extLst>
                </a:gridCol>
              </a:tblGrid>
              <a:tr h="368184">
                <a:tc>
                  <a:txBody>
                    <a:bodyPr/>
                    <a:lstStyle/>
                    <a:p>
                      <a:pPr marL="0" marR="0">
                        <a:lnSpc>
                          <a:spcPct val="107000"/>
                        </a:lnSpc>
                        <a:spcBef>
                          <a:spcPts val="0"/>
                        </a:spcBef>
                        <a:spcAft>
                          <a:spcPts val="1000"/>
                        </a:spcAft>
                      </a:pPr>
                      <a:r>
                        <a:rPr lang="en-US" sz="2000" dirty="0">
                          <a:effectLst/>
                        </a:rPr>
                        <a:t>Documentation of a conversation with parents or caregivers about adjustment to life with a newborn and safe sleep outside of the hospital</a:t>
                      </a:r>
                      <a:endParaRPr lang="en-US" sz="2000">
                        <a:solidFill>
                          <a:schemeClr val="bg1"/>
                        </a:solidFill>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b="0" dirty="0">
                          <a:solidFill>
                            <a:schemeClr val="tx1"/>
                          </a:solidFill>
                          <a:effectLst/>
                        </a:rPr>
                        <a:t>Yes</a:t>
                      </a:r>
                    </a:p>
                    <a:p>
                      <a:pPr marL="342900" marR="0" lvl="0" indent="-342900">
                        <a:lnSpc>
                          <a:spcPct val="115000"/>
                        </a:lnSpc>
                        <a:spcBef>
                          <a:spcPts val="0"/>
                        </a:spcBef>
                        <a:spcAft>
                          <a:spcPts val="1000"/>
                        </a:spcAft>
                        <a:buFont typeface="Symbol" panose="05050102010706020507" pitchFamily="18" charset="2"/>
                        <a:buChar char=""/>
                      </a:pPr>
                      <a:r>
                        <a:rPr lang="en-US" sz="2000" b="0" dirty="0">
                          <a:solidFill>
                            <a:schemeClr val="tx1"/>
                          </a:solidFill>
                          <a:effectLst/>
                        </a:rPr>
                        <a:t>No</a:t>
                      </a:r>
                      <a:endParaRPr lang="en-US" sz="2000" b="0">
                        <a:solidFill>
                          <a:schemeClr val="tx1"/>
                        </a:solidFill>
                        <a:effectLst/>
                        <a:latin typeface="Calibri"/>
                        <a:ea typeface="Times New Roman" panose="02020603050405020304" pitchFamily="18" charset="0"/>
                        <a:cs typeface="Times New Roman"/>
                      </a:endParaRPr>
                    </a:p>
                  </a:txBody>
                  <a:tcPr marL="39535" marR="39535" marT="0" marB="0">
                    <a:solidFill>
                      <a:srgbClr val="FDEAEE"/>
                    </a:solidFill>
                  </a:tcPr>
                </a:tc>
                <a:extLst>
                  <a:ext uri="{0D108BD9-81ED-4DB2-BD59-A6C34878D82A}">
                    <a16:rowId xmlns:a16="http://schemas.microsoft.com/office/drawing/2014/main" val="649105352"/>
                  </a:ext>
                </a:extLst>
              </a:tr>
              <a:tr h="368184">
                <a:tc>
                  <a:txBody>
                    <a:bodyPr/>
                    <a:lstStyle/>
                    <a:p>
                      <a:pPr marL="0" marR="0">
                        <a:lnSpc>
                          <a:spcPct val="107000"/>
                        </a:lnSpc>
                        <a:spcBef>
                          <a:spcPts val="0"/>
                        </a:spcBef>
                        <a:spcAft>
                          <a:spcPts val="1000"/>
                        </a:spcAft>
                      </a:pPr>
                      <a:r>
                        <a:rPr lang="en-US" sz="2000" dirty="0">
                          <a:effectLst/>
                        </a:rPr>
                        <a:t>If specific anticipated challenges were identified, was there documentation of resources and guidance shared with parents or caregivers </a:t>
                      </a:r>
                      <a:endParaRPr lang="en-US" sz="2000" dirty="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Yes</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No</a:t>
                      </a:r>
                      <a:endParaRPr lang="en-US" sz="2000" dirty="0">
                        <a:effectLst/>
                        <a:latin typeface="Calibri"/>
                        <a:ea typeface="Times New Roman" panose="02020603050405020304" pitchFamily="18" charset="0"/>
                        <a:cs typeface="Times New Roman"/>
                      </a:endParaRPr>
                    </a:p>
                  </a:txBody>
                  <a:tcPr marL="39535" marR="39535" marT="0" marB="0"/>
                </a:tc>
                <a:extLst>
                  <a:ext uri="{0D108BD9-81ED-4DB2-BD59-A6C34878D82A}">
                    <a16:rowId xmlns:a16="http://schemas.microsoft.com/office/drawing/2014/main" val="3346935684"/>
                  </a:ext>
                </a:extLst>
              </a:tr>
              <a:tr h="597219">
                <a:tc>
                  <a:txBody>
                    <a:bodyPr/>
                    <a:lstStyle/>
                    <a:p>
                      <a:pPr marL="0" marR="0">
                        <a:lnSpc>
                          <a:spcPct val="107000"/>
                        </a:lnSpc>
                        <a:spcBef>
                          <a:spcPts val="0"/>
                        </a:spcBef>
                        <a:spcAft>
                          <a:spcPts val="800"/>
                        </a:spcAft>
                      </a:pPr>
                      <a:r>
                        <a:rPr lang="en-US" sz="2000" dirty="0">
                          <a:effectLst/>
                        </a:rPr>
                        <a:t>Documentation in the infant chart of social determinants of health (SDOH) screening completed</a:t>
                      </a:r>
                      <a:endParaRPr lang="en-US" sz="2000" dirty="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Documented / SDOH needs identified </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Documented / No SDOH needs identified</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Not Documented</a:t>
                      </a:r>
                      <a:endParaRPr lang="en-US" sz="2000" dirty="0">
                        <a:effectLst/>
                        <a:latin typeface="Calibri"/>
                        <a:ea typeface="Times New Roman" panose="02020603050405020304" pitchFamily="18" charset="0"/>
                        <a:cs typeface="Times New Roman"/>
                      </a:endParaRPr>
                    </a:p>
                  </a:txBody>
                  <a:tcPr marL="39535" marR="39535" marT="0" marB="0"/>
                </a:tc>
                <a:extLst>
                  <a:ext uri="{0D108BD9-81ED-4DB2-BD59-A6C34878D82A}">
                    <a16:rowId xmlns:a16="http://schemas.microsoft.com/office/drawing/2014/main" val="1802044326"/>
                  </a:ext>
                </a:extLst>
              </a:tr>
              <a:tr h="597219">
                <a:tc>
                  <a:txBody>
                    <a:bodyPr/>
                    <a:lstStyle/>
                    <a:p>
                      <a:pPr marL="0" marR="0">
                        <a:lnSpc>
                          <a:spcPct val="115000"/>
                        </a:lnSpc>
                        <a:spcBef>
                          <a:spcPts val="0"/>
                        </a:spcBef>
                        <a:spcAft>
                          <a:spcPts val="0"/>
                        </a:spcAft>
                      </a:pPr>
                      <a:r>
                        <a:rPr lang="en-US" sz="2000" dirty="0">
                          <a:effectLst/>
                        </a:rPr>
                        <a:t>Parent or caregiver with SDOH needs identified have documentation of linkage to needed resources/services in the infant chart</a:t>
                      </a:r>
                      <a:endParaRPr lang="en-US" sz="2000" dirty="0">
                        <a:effectLst/>
                        <a:latin typeface="Calibri"/>
                        <a:ea typeface="Times New Roman" panose="02020603050405020304" pitchFamily="18" charset="0"/>
                        <a:cs typeface="Times New Roman"/>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2000" dirty="0">
                          <a:effectLst/>
                        </a:rPr>
                        <a:t>Yes</a:t>
                      </a:r>
                    </a:p>
                    <a:p>
                      <a:pPr marL="342900" marR="0" lvl="0" indent="-342900">
                        <a:lnSpc>
                          <a:spcPct val="115000"/>
                        </a:lnSpc>
                        <a:spcBef>
                          <a:spcPts val="0"/>
                        </a:spcBef>
                        <a:spcAft>
                          <a:spcPts val="0"/>
                        </a:spcAft>
                        <a:buFont typeface="Symbol" panose="05050102010706020507" pitchFamily="18" charset="2"/>
                        <a:buChar char=""/>
                      </a:pPr>
                      <a:r>
                        <a:rPr lang="en-US" sz="2000" dirty="0">
                          <a:effectLst/>
                        </a:rPr>
                        <a:t>No</a:t>
                      </a:r>
                      <a:endParaRPr lang="en-US" sz="2000" dirty="0">
                        <a:effectLst/>
                        <a:latin typeface="Calibri"/>
                        <a:ea typeface="Times New Roman" panose="02020603050405020304" pitchFamily="18" charset="0"/>
                        <a:cs typeface="Times New Roman"/>
                      </a:endParaRPr>
                    </a:p>
                  </a:txBody>
                  <a:tcPr marL="39535" marR="39535" marT="0" marB="0"/>
                </a:tc>
                <a:extLst>
                  <a:ext uri="{0D108BD9-81ED-4DB2-BD59-A6C34878D82A}">
                    <a16:rowId xmlns:a16="http://schemas.microsoft.com/office/drawing/2014/main" val="4231315181"/>
                  </a:ext>
                </a:extLst>
              </a:tr>
              <a:tr h="597219">
                <a:tc>
                  <a:txBody>
                    <a:bodyPr/>
                    <a:lstStyle/>
                    <a:p>
                      <a:pPr lvl="0" algn="l">
                        <a:lnSpc>
                          <a:spcPct val="100000"/>
                        </a:lnSpc>
                        <a:spcBef>
                          <a:spcPts val="0"/>
                        </a:spcBef>
                        <a:spcAft>
                          <a:spcPts val="0"/>
                        </a:spcAft>
                        <a:buNone/>
                      </a:pPr>
                      <a:r>
                        <a:rPr lang="en-US" sz="2000" b="1" i="0" u="none" strike="noStrike" noProof="0" dirty="0">
                          <a:effectLst/>
                          <a:latin typeface="Calibri"/>
                        </a:rPr>
                        <a:t>Documentation of ESSI Bundle components in the</a:t>
                      </a:r>
                    </a:p>
                    <a:p>
                      <a:pPr lvl="0" algn="l">
                        <a:lnSpc>
                          <a:spcPct val="100000"/>
                        </a:lnSpc>
                        <a:spcBef>
                          <a:spcPts val="0"/>
                        </a:spcBef>
                        <a:spcAft>
                          <a:spcPts val="0"/>
                        </a:spcAft>
                        <a:buNone/>
                      </a:pPr>
                      <a:r>
                        <a:rPr lang="en-US" sz="2000" b="1" i="0" u="none" strike="noStrike" noProof="0" dirty="0">
                          <a:effectLst/>
                          <a:latin typeface="Calibri"/>
                        </a:rPr>
                        <a:t>discharge summary</a:t>
                      </a:r>
                      <a:endParaRPr lang="en-US" dirty="0"/>
                    </a:p>
                  </a:txBody>
                  <a:tcPr marL="39535" marR="39535" marT="0" marB="0"/>
                </a:tc>
                <a:tc>
                  <a:txBody>
                    <a:bodyPr/>
                    <a:lstStyle/>
                    <a:p>
                      <a:pPr marL="342900" marR="0" lvl="0" indent="-342900">
                        <a:lnSpc>
                          <a:spcPct val="114999"/>
                        </a:lnSpc>
                        <a:spcBef>
                          <a:spcPts val="0"/>
                        </a:spcBef>
                        <a:spcAft>
                          <a:spcPts val="0"/>
                        </a:spcAft>
                        <a:buFont typeface="Symbol" panose="05050102010706020507" pitchFamily="18" charset="2"/>
                        <a:buChar char=""/>
                      </a:pPr>
                      <a:r>
                        <a:rPr lang="en-US" sz="2000" dirty="0">
                          <a:effectLst/>
                        </a:rPr>
                        <a:t>Yes</a:t>
                      </a:r>
                      <a:endParaRPr lang="en-US"/>
                    </a:p>
                    <a:p>
                      <a:pPr marL="342900" marR="0" lvl="0" indent="-342900">
                        <a:lnSpc>
                          <a:spcPct val="114999"/>
                        </a:lnSpc>
                        <a:spcBef>
                          <a:spcPts val="0"/>
                        </a:spcBef>
                        <a:spcAft>
                          <a:spcPts val="0"/>
                        </a:spcAft>
                        <a:buFont typeface="Symbol" panose="05050102010706020507" pitchFamily="18" charset="2"/>
                        <a:buChar char=""/>
                      </a:pPr>
                      <a:r>
                        <a:rPr lang="en-US" sz="2000" dirty="0">
                          <a:effectLst/>
                        </a:rPr>
                        <a:t>No</a:t>
                      </a:r>
                      <a:endParaRPr lang="en-US" sz="2000">
                        <a:effectLst/>
                        <a:latin typeface="Calibri"/>
                        <a:cs typeface="Times New Roman"/>
                      </a:endParaRPr>
                    </a:p>
                  </a:txBody>
                  <a:tcPr marL="39535" marR="39535" marT="0" marB="0"/>
                </a:tc>
                <a:extLst>
                  <a:ext uri="{0D108BD9-81ED-4DB2-BD59-A6C34878D82A}">
                    <a16:rowId xmlns:a16="http://schemas.microsoft.com/office/drawing/2014/main" val="3168283162"/>
                  </a:ext>
                </a:extLst>
              </a:tr>
            </a:tbl>
          </a:graphicData>
        </a:graphic>
      </p:graphicFrame>
    </p:spTree>
    <p:extLst>
      <p:ext uri="{BB962C8B-B14F-4D97-AF65-F5344CB8AC3E}">
        <p14:creationId xmlns:p14="http://schemas.microsoft.com/office/powerpoint/2010/main" val="19964008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73EC-1DD6-BB4A-FC55-6BA73A7F9CE0}"/>
              </a:ext>
            </a:extLst>
          </p:cNvPr>
          <p:cNvSpPr>
            <a:spLocks noGrp="1"/>
          </p:cNvSpPr>
          <p:nvPr>
            <p:ph type="title"/>
          </p:nvPr>
        </p:nvSpPr>
        <p:spPr/>
        <p:txBody>
          <a:bodyPr/>
          <a:lstStyle/>
          <a:p>
            <a:r>
              <a:rPr lang="en-US" dirty="0">
                <a:ea typeface="Lato Medium"/>
                <a:cs typeface="Lato Medium"/>
              </a:rPr>
              <a:t>ESSI Bundle</a:t>
            </a:r>
            <a:endParaRPr lang="en-US" dirty="0"/>
          </a:p>
        </p:txBody>
      </p:sp>
      <p:sp>
        <p:nvSpPr>
          <p:cNvPr id="3" name="Content Placeholder 2">
            <a:extLst>
              <a:ext uri="{FF2B5EF4-FFF2-40B4-BE49-F238E27FC236}">
                <a16:creationId xmlns:a16="http://schemas.microsoft.com/office/drawing/2014/main" id="{C897915C-45D7-A970-FA8A-CAFB0C121186}"/>
              </a:ext>
            </a:extLst>
          </p:cNvPr>
          <p:cNvSpPr>
            <a:spLocks noGrp="1"/>
          </p:cNvSpPr>
          <p:nvPr>
            <p:ph idx="1"/>
          </p:nvPr>
        </p:nvSpPr>
        <p:spPr/>
        <p:txBody>
          <a:bodyPr vert="horz" lIns="91440" tIns="45720" rIns="91440" bIns="45720" rtlCol="0" anchor="t">
            <a:noAutofit/>
          </a:bodyPr>
          <a:lstStyle/>
          <a:p>
            <a:r>
              <a:rPr lang="en-US" dirty="0">
                <a:solidFill>
                  <a:srgbClr val="000000"/>
                </a:solidFill>
                <a:latin typeface="Calibri"/>
                <a:ea typeface="Lato"/>
                <a:cs typeface="Times New Roman"/>
              </a:rPr>
              <a:t>ESSI Bundle: </a:t>
            </a:r>
            <a:endParaRPr lang="en-US">
              <a:solidFill>
                <a:srgbClr val="444C55"/>
              </a:solidFill>
              <a:latin typeface="Calibri" panose="020F0502020204030204"/>
              <a:ea typeface="Lato"/>
            </a:endParaRPr>
          </a:p>
          <a:p>
            <a:pPr lvl="1">
              <a:buClr>
                <a:srgbClr val="1C498B"/>
              </a:buClr>
              <a:buFont typeface="Courier New" panose="020B0604020202020204" pitchFamily="34" charset="0"/>
              <a:buChar char="o"/>
            </a:pPr>
            <a:r>
              <a:rPr lang="en-US" dirty="0">
                <a:solidFill>
                  <a:srgbClr val="000000"/>
                </a:solidFill>
                <a:latin typeface="Calibri"/>
                <a:ea typeface="Lato"/>
                <a:cs typeface="Times New Roman"/>
              </a:rPr>
              <a:t>Parents or caregivers report an understanding of a safe sleep environment.</a:t>
            </a:r>
            <a:endParaRPr lang="en-US">
              <a:latin typeface="Calibri"/>
              <a:ea typeface="Lato"/>
            </a:endParaRPr>
          </a:p>
          <a:p>
            <a:pPr lvl="1">
              <a:buClr>
                <a:srgbClr val="1C498B"/>
              </a:buClr>
              <a:buFont typeface="Courier New" panose="020B0604020202020204" pitchFamily="34" charset="0"/>
              <a:buChar char="o"/>
            </a:pPr>
            <a:r>
              <a:rPr lang="en-US" dirty="0">
                <a:solidFill>
                  <a:srgbClr val="000000"/>
                </a:solidFill>
                <a:latin typeface="Calibri"/>
                <a:ea typeface="Lato"/>
                <a:cs typeface="Times New Roman"/>
              </a:rPr>
              <a:t>Family is prepared for a transition to home, including </a:t>
            </a:r>
            <a:r>
              <a:rPr lang="en-US" dirty="0" err="1">
                <a:solidFill>
                  <a:srgbClr val="000000"/>
                </a:solidFill>
                <a:latin typeface="Calibri"/>
                <a:ea typeface="Lato"/>
                <a:cs typeface="Times New Roman"/>
              </a:rPr>
              <a:t>SDoH</a:t>
            </a:r>
            <a:r>
              <a:rPr lang="en-US" dirty="0">
                <a:solidFill>
                  <a:srgbClr val="000000"/>
                </a:solidFill>
                <a:latin typeface="Calibri"/>
                <a:ea typeface="Lato"/>
                <a:cs typeface="Times New Roman"/>
              </a:rPr>
              <a:t> screening and resource linkage.</a:t>
            </a:r>
            <a:endParaRPr lang="en-US" dirty="0">
              <a:latin typeface="Calibri"/>
              <a:ea typeface="Lato"/>
            </a:endParaRPr>
          </a:p>
          <a:p>
            <a:pPr lvl="1">
              <a:buClr>
                <a:srgbClr val="1C498B"/>
              </a:buClr>
              <a:buFont typeface="Courier New" panose="020B0604020202020204" pitchFamily="34" charset="0"/>
              <a:buChar char="o"/>
            </a:pPr>
            <a:r>
              <a:rPr lang="en-US" dirty="0">
                <a:solidFill>
                  <a:srgbClr val="000000"/>
                </a:solidFill>
                <a:latin typeface="Calibri"/>
                <a:ea typeface="Lato"/>
                <a:cs typeface="Times New Roman"/>
              </a:rPr>
              <a:t>Communication to primary care provider completed.</a:t>
            </a:r>
            <a:endParaRPr lang="en-US" dirty="0">
              <a:latin typeface="Calibri"/>
              <a:ea typeface="Lato"/>
            </a:endParaRPr>
          </a:p>
          <a:p>
            <a:pPr lvl="2">
              <a:buFont typeface="Wingdings" panose="020B0604020202020204" pitchFamily="34" charset="0"/>
              <a:buChar char="§"/>
            </a:pPr>
            <a:r>
              <a:rPr lang="en-US" dirty="0">
                <a:solidFill>
                  <a:srgbClr val="000000"/>
                </a:solidFill>
                <a:latin typeface="Calibri"/>
                <a:ea typeface="Lato"/>
                <a:cs typeface="Times New Roman"/>
              </a:rPr>
              <a:t>Call to primary care provider</a:t>
            </a:r>
          </a:p>
          <a:p>
            <a:pPr lvl="2">
              <a:buFont typeface="Wingdings" panose="020B0604020202020204" pitchFamily="34" charset="0"/>
              <a:buChar char="§"/>
            </a:pPr>
            <a:r>
              <a:rPr lang="en-US" dirty="0">
                <a:solidFill>
                  <a:srgbClr val="000000"/>
                </a:solidFill>
                <a:latin typeface="Calibri"/>
                <a:ea typeface="Lato"/>
                <a:cs typeface="Times New Roman"/>
              </a:rPr>
              <a:t>Discharge summary faxed over</a:t>
            </a:r>
          </a:p>
          <a:p>
            <a:pPr lvl="2">
              <a:buFont typeface="Wingdings" panose="020B0604020202020204" pitchFamily="34" charset="0"/>
              <a:buChar char="§"/>
            </a:pPr>
            <a:r>
              <a:rPr lang="en-US" dirty="0">
                <a:solidFill>
                  <a:srgbClr val="000000"/>
                </a:solidFill>
                <a:latin typeface="Calibri"/>
                <a:ea typeface="Lato"/>
                <a:cs typeface="Times New Roman"/>
              </a:rPr>
              <a:t>Discharge summary printed and sent home to bring to first appointment </a:t>
            </a:r>
            <a:endParaRPr lang="en-US" dirty="0">
              <a:solidFill>
                <a:srgbClr val="000000"/>
              </a:solidFill>
              <a:latin typeface="Times New Roman"/>
              <a:cs typeface="Times New Roman"/>
            </a:endParaRPr>
          </a:p>
          <a:p>
            <a:endParaRPr lang="en-US" dirty="0"/>
          </a:p>
        </p:txBody>
      </p:sp>
      <p:sp>
        <p:nvSpPr>
          <p:cNvPr id="4" name="Slide Number Placeholder 3">
            <a:extLst>
              <a:ext uri="{FF2B5EF4-FFF2-40B4-BE49-F238E27FC236}">
                <a16:creationId xmlns:a16="http://schemas.microsoft.com/office/drawing/2014/main" id="{A24410F2-3B6D-576E-1371-06507E7DAF4C}"/>
              </a:ext>
            </a:extLst>
          </p:cNvPr>
          <p:cNvSpPr>
            <a:spLocks noGrp="1"/>
          </p:cNvSpPr>
          <p:nvPr>
            <p:ph type="sldNum" sz="quarter" idx="10"/>
          </p:nvPr>
        </p:nvSpPr>
        <p:spPr/>
        <p:txBody>
          <a:bodyPr/>
          <a:lstStyle/>
          <a:p>
            <a:fld id="{97033E4B-E3EB-3D46-B2D8-3159663620FA}" type="slidenum">
              <a:rPr lang="en-US" smtClean="0"/>
              <a:pPr/>
              <a:t>31</a:t>
            </a:fld>
            <a:endParaRPr lang="en-US"/>
          </a:p>
        </p:txBody>
      </p:sp>
      <p:sp>
        <p:nvSpPr>
          <p:cNvPr id="5" name="Footer Placeholder 4">
            <a:extLst>
              <a:ext uri="{FF2B5EF4-FFF2-40B4-BE49-F238E27FC236}">
                <a16:creationId xmlns:a16="http://schemas.microsoft.com/office/drawing/2014/main" id="{CD58BE53-51B0-8294-07FF-7531C05C4054}"/>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14141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5777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9FE7D1D-AAD9-96C4-449C-05CDE1CB8665}"/>
              </a:ext>
            </a:extLst>
          </p:cNvPr>
          <p:cNvSpPr>
            <a:spLocks noGrp="1"/>
          </p:cNvSpPr>
          <p:nvPr>
            <p:ph type="title"/>
          </p:nvPr>
        </p:nvSpPr>
        <p:spPr>
          <a:xfrm>
            <a:off x="640080" y="2074363"/>
            <a:ext cx="2752354" cy="2709275"/>
          </a:xfrm>
          <a:prstGeom prst="ellipse">
            <a:avLst/>
          </a:prstGeom>
          <a:solidFill>
            <a:schemeClr val="accent3"/>
          </a:solidFill>
          <a:ln w="174625" cmpd="thinThick">
            <a:solidFill>
              <a:srgbClr val="262626"/>
            </a:solidFill>
          </a:ln>
        </p:spPr>
        <p:txBody>
          <a:bodyPr vert="horz" lIns="91440" tIns="45720" rIns="91440" bIns="45720" rtlCol="0" anchor="ctr">
            <a:normAutofit/>
          </a:bodyPr>
          <a:lstStyle/>
          <a:p>
            <a:pPr algn="ctr">
              <a:lnSpc>
                <a:spcPct val="90000"/>
              </a:lnSpc>
            </a:pPr>
            <a:r>
              <a:rPr lang="en-US" sz="2600" kern="1200">
                <a:solidFill>
                  <a:srgbClr val="FFFFFF"/>
                </a:solidFill>
                <a:latin typeface="+mj-lt"/>
                <a:ea typeface="+mj-ea"/>
                <a:cs typeface="+mj-cs"/>
              </a:rPr>
              <a:t>Close Out and Save the Form</a:t>
            </a:r>
          </a:p>
        </p:txBody>
      </p:sp>
      <p:pic>
        <p:nvPicPr>
          <p:cNvPr id="6" name="Content Placeholder 5" descr="A screenshot of a computer&#10;&#10;Description automatically generated">
            <a:extLst>
              <a:ext uri="{FF2B5EF4-FFF2-40B4-BE49-F238E27FC236}">
                <a16:creationId xmlns:a16="http://schemas.microsoft.com/office/drawing/2014/main" id="{3D5FF0C6-9AD5-88AB-36AB-15CCD15D0DC1}"/>
              </a:ext>
            </a:extLst>
          </p:cNvPr>
          <p:cNvPicPr>
            <a:picLocks noGrp="1" noChangeAspect="1"/>
          </p:cNvPicPr>
          <p:nvPr>
            <p:ph idx="1"/>
          </p:nvPr>
        </p:nvPicPr>
        <p:blipFill>
          <a:blip r:embed="rId2"/>
          <a:stretch>
            <a:fillRect/>
          </a:stretch>
        </p:blipFill>
        <p:spPr>
          <a:xfrm>
            <a:off x="3506637" y="1274430"/>
            <a:ext cx="8640312" cy="4794581"/>
          </a:xfrm>
          <a:prstGeom prst="rect">
            <a:avLst/>
          </a:prstGeom>
        </p:spPr>
      </p:pic>
      <p:sp>
        <p:nvSpPr>
          <p:cNvPr id="5" name="Footer Placeholder 4">
            <a:extLst>
              <a:ext uri="{FF2B5EF4-FFF2-40B4-BE49-F238E27FC236}">
                <a16:creationId xmlns:a16="http://schemas.microsoft.com/office/drawing/2014/main" id="{0B73D8D2-C2DB-C39B-F46F-37D6415F0A05}"/>
              </a:ext>
            </a:extLst>
          </p:cNvPr>
          <p:cNvSpPr>
            <a:spLocks noGrp="1"/>
          </p:cNvSpPr>
          <p:nvPr>
            <p:ph type="ftr" sz="quarter" idx="11"/>
          </p:nvPr>
        </p:nvSpPr>
        <p:spPr>
          <a:xfrm>
            <a:off x="4116613" y="6356350"/>
            <a:ext cx="7032172" cy="365125"/>
          </a:xfrm>
        </p:spPr>
        <p:txBody>
          <a:bodyPr vert="horz" lIns="91440" tIns="45720" rIns="91440" bIns="45720" rtlCol="0" anchor="ctr">
            <a:normAutofit/>
          </a:bodyPr>
          <a:lstStyle/>
          <a:p>
            <a:pPr>
              <a:spcAft>
                <a:spcPts val="600"/>
              </a:spcAft>
            </a:pPr>
            <a:r>
              <a:rPr lang="en-US" kern="1200">
                <a:solidFill>
                  <a:srgbClr val="898989"/>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73E73FB8-71B1-7DC6-D8C4-8F321B89D124}"/>
              </a:ext>
            </a:extLst>
          </p:cNvPr>
          <p:cNvSpPr>
            <a:spLocks noGrp="1"/>
          </p:cNvSpPr>
          <p:nvPr>
            <p:ph type="sldNum" sz="quarter" idx="10"/>
          </p:nvPr>
        </p:nvSpPr>
        <p:spPr>
          <a:xfrm>
            <a:off x="11310257" y="6356350"/>
            <a:ext cx="560009" cy="365125"/>
          </a:xfrm>
        </p:spPr>
        <p:txBody>
          <a:bodyPr vert="horz" lIns="91440" tIns="45720" rIns="91440" bIns="45720" rtlCol="0" anchor="ctr">
            <a:normAutofit/>
          </a:bodyPr>
          <a:lstStyle/>
          <a:p>
            <a:pPr>
              <a:spcAft>
                <a:spcPts val="600"/>
              </a:spcAft>
            </a:pPr>
            <a:fld id="{97033E4B-E3EB-3D46-B2D8-3159663620FA}" type="slidenum">
              <a:rPr lang="en-US">
                <a:solidFill>
                  <a:srgbClr val="898989"/>
                </a:solidFill>
              </a:rPr>
              <a:pPr>
                <a:spcAft>
                  <a:spcPts val="600"/>
                </a:spcAft>
              </a:pPr>
              <a:t>32</a:t>
            </a:fld>
            <a:endParaRPr lang="en-US">
              <a:solidFill>
                <a:srgbClr val="898989"/>
              </a:solidFill>
            </a:endParaRPr>
          </a:p>
        </p:txBody>
      </p:sp>
      <p:sp>
        <p:nvSpPr>
          <p:cNvPr id="7" name="Rectangle: Rounded Corners 6">
            <a:extLst>
              <a:ext uri="{FF2B5EF4-FFF2-40B4-BE49-F238E27FC236}">
                <a16:creationId xmlns:a16="http://schemas.microsoft.com/office/drawing/2014/main" id="{8244CB38-9DB6-FCBC-AA67-A8F3AD7D5689}"/>
              </a:ext>
            </a:extLst>
          </p:cNvPr>
          <p:cNvSpPr/>
          <p:nvPr/>
        </p:nvSpPr>
        <p:spPr>
          <a:xfrm>
            <a:off x="3383280" y="1112520"/>
            <a:ext cx="747622" cy="301924"/>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18868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5100F-420D-CB68-2575-2DC3BEBF4CB0}"/>
              </a:ext>
            </a:extLst>
          </p:cNvPr>
          <p:cNvSpPr>
            <a:spLocks noGrp="1"/>
          </p:cNvSpPr>
          <p:nvPr>
            <p:ph type="title"/>
          </p:nvPr>
        </p:nvSpPr>
        <p:spPr/>
        <p:txBody>
          <a:bodyPr/>
          <a:lstStyle/>
          <a:p>
            <a:r>
              <a:rPr lang="en-US" dirty="0">
                <a:ea typeface="Lato Medium"/>
                <a:cs typeface="Lato Medium"/>
              </a:rPr>
              <a:t>Accessing Reports</a:t>
            </a:r>
            <a:endParaRPr lang="en-US">
              <a:ea typeface="Lato Medium"/>
              <a:cs typeface="Lato Medium"/>
            </a:endParaRPr>
          </a:p>
        </p:txBody>
      </p:sp>
      <p:pic>
        <p:nvPicPr>
          <p:cNvPr id="6" name="Content Placeholder 5" descr="A screenshot of a computer&#10;&#10;Description automatically generated">
            <a:extLst>
              <a:ext uri="{FF2B5EF4-FFF2-40B4-BE49-F238E27FC236}">
                <a16:creationId xmlns:a16="http://schemas.microsoft.com/office/drawing/2014/main" id="{9E6AB7D9-754E-DDFE-827B-A8DDBC97BAE7}"/>
              </a:ext>
            </a:extLst>
          </p:cNvPr>
          <p:cNvPicPr>
            <a:picLocks noGrp="1" noChangeAspect="1"/>
          </p:cNvPicPr>
          <p:nvPr>
            <p:ph idx="1"/>
          </p:nvPr>
        </p:nvPicPr>
        <p:blipFill>
          <a:blip r:embed="rId2"/>
          <a:stretch>
            <a:fillRect/>
          </a:stretch>
        </p:blipFill>
        <p:spPr>
          <a:xfrm>
            <a:off x="2019152" y="1908968"/>
            <a:ext cx="2510133" cy="4351338"/>
          </a:xfrm>
        </p:spPr>
      </p:pic>
      <p:sp>
        <p:nvSpPr>
          <p:cNvPr id="4" name="Slide Number Placeholder 3">
            <a:extLst>
              <a:ext uri="{FF2B5EF4-FFF2-40B4-BE49-F238E27FC236}">
                <a16:creationId xmlns:a16="http://schemas.microsoft.com/office/drawing/2014/main" id="{A87D2AA1-7E54-476B-A870-4F5AF46C53DF}"/>
              </a:ext>
            </a:extLst>
          </p:cNvPr>
          <p:cNvSpPr>
            <a:spLocks noGrp="1"/>
          </p:cNvSpPr>
          <p:nvPr>
            <p:ph type="sldNum" sz="quarter" idx="10"/>
          </p:nvPr>
        </p:nvSpPr>
        <p:spPr/>
        <p:txBody>
          <a:bodyPr/>
          <a:lstStyle/>
          <a:p>
            <a:fld id="{97033E4B-E3EB-3D46-B2D8-3159663620FA}" type="slidenum">
              <a:rPr lang="en-US" smtClean="0"/>
              <a:pPr/>
              <a:t>33</a:t>
            </a:fld>
            <a:endParaRPr lang="en-US"/>
          </a:p>
        </p:txBody>
      </p:sp>
      <p:sp>
        <p:nvSpPr>
          <p:cNvPr id="5" name="Footer Placeholder 4">
            <a:extLst>
              <a:ext uri="{FF2B5EF4-FFF2-40B4-BE49-F238E27FC236}">
                <a16:creationId xmlns:a16="http://schemas.microsoft.com/office/drawing/2014/main" id="{93D51198-DFA7-D204-D221-E44817C2779F}"/>
              </a:ext>
            </a:extLst>
          </p:cNvPr>
          <p:cNvSpPr>
            <a:spLocks noGrp="1"/>
          </p:cNvSpPr>
          <p:nvPr>
            <p:ph type="ftr" sz="quarter" idx="11"/>
          </p:nvPr>
        </p:nvSpPr>
        <p:spPr/>
        <p:txBody>
          <a:bodyPr/>
          <a:lstStyle/>
          <a:p>
            <a:pPr algn="l"/>
            <a:r>
              <a:rPr lang="en-US"/>
              <a:t>Illinois Perinatal Quality Collaborative</a:t>
            </a:r>
          </a:p>
        </p:txBody>
      </p:sp>
      <p:sp>
        <p:nvSpPr>
          <p:cNvPr id="8" name="Arrow: Right 7">
            <a:extLst>
              <a:ext uri="{FF2B5EF4-FFF2-40B4-BE49-F238E27FC236}">
                <a16:creationId xmlns:a16="http://schemas.microsoft.com/office/drawing/2014/main" id="{C3038878-2635-384E-3588-1C0333F4228F}"/>
              </a:ext>
            </a:extLst>
          </p:cNvPr>
          <p:cNvSpPr/>
          <p:nvPr/>
        </p:nvSpPr>
        <p:spPr>
          <a:xfrm>
            <a:off x="556617" y="5753695"/>
            <a:ext cx="1428748" cy="70246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9DC5C302-7AA6-34F8-4F89-806E68BD81B5}"/>
              </a:ext>
            </a:extLst>
          </p:cNvPr>
          <p:cNvSpPr txBox="1"/>
          <p:nvPr/>
        </p:nvSpPr>
        <p:spPr>
          <a:xfrm>
            <a:off x="2976" y="4277319"/>
            <a:ext cx="198120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Calibri"/>
              </a:rPr>
              <a:t>Scrolls down and click report on the left side</a:t>
            </a:r>
            <a:endParaRPr lang="en-US"/>
          </a:p>
        </p:txBody>
      </p:sp>
      <p:pic>
        <p:nvPicPr>
          <p:cNvPr id="14" name="Picture 13" descr="A screenshot of a login&#10;&#10;Description automatically generated">
            <a:extLst>
              <a:ext uri="{FF2B5EF4-FFF2-40B4-BE49-F238E27FC236}">
                <a16:creationId xmlns:a16="http://schemas.microsoft.com/office/drawing/2014/main" id="{AC3E8AF1-85D6-FBD8-C212-D67BF150CF61}"/>
              </a:ext>
            </a:extLst>
          </p:cNvPr>
          <p:cNvPicPr>
            <a:picLocks noChangeAspect="1"/>
          </p:cNvPicPr>
          <p:nvPr/>
        </p:nvPicPr>
        <p:blipFill>
          <a:blip r:embed="rId3"/>
          <a:stretch>
            <a:fillRect/>
          </a:stretch>
        </p:blipFill>
        <p:spPr>
          <a:xfrm>
            <a:off x="6291262" y="2240756"/>
            <a:ext cx="4371975" cy="2781300"/>
          </a:xfrm>
          <a:prstGeom prst="rect">
            <a:avLst/>
          </a:prstGeom>
        </p:spPr>
      </p:pic>
      <p:sp>
        <p:nvSpPr>
          <p:cNvPr id="15" name="TextBox 14">
            <a:extLst>
              <a:ext uri="{FF2B5EF4-FFF2-40B4-BE49-F238E27FC236}">
                <a16:creationId xmlns:a16="http://schemas.microsoft.com/office/drawing/2014/main" id="{CEA5E17D-83B8-0221-9D35-886C9924A78D}"/>
              </a:ext>
            </a:extLst>
          </p:cNvPr>
          <p:cNvSpPr txBox="1"/>
          <p:nvPr/>
        </p:nvSpPr>
        <p:spPr>
          <a:xfrm rot="-10800000" flipV="1">
            <a:off x="6098975" y="1681757"/>
            <a:ext cx="471963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Calibri"/>
              </a:rPr>
              <a:t>Enter Your Hospital ID</a:t>
            </a:r>
            <a:endParaRPr lang="en-US" dirty="0"/>
          </a:p>
        </p:txBody>
      </p:sp>
      <p:sp>
        <p:nvSpPr>
          <p:cNvPr id="16" name="Rectangle 15">
            <a:extLst>
              <a:ext uri="{FF2B5EF4-FFF2-40B4-BE49-F238E27FC236}">
                <a16:creationId xmlns:a16="http://schemas.microsoft.com/office/drawing/2014/main" id="{DB99B727-7CDB-518A-CB4B-346F91B8340E}"/>
              </a:ext>
            </a:extLst>
          </p:cNvPr>
          <p:cNvSpPr/>
          <p:nvPr/>
        </p:nvSpPr>
        <p:spPr>
          <a:xfrm>
            <a:off x="6637734" y="5414367"/>
            <a:ext cx="4036219" cy="85724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cs typeface="Calibri"/>
              </a:rPr>
              <a:t>ESSI Reports Coming soon!</a:t>
            </a:r>
            <a:endParaRPr lang="en-US"/>
          </a:p>
        </p:txBody>
      </p:sp>
    </p:spTree>
    <p:extLst>
      <p:ext uri="{BB962C8B-B14F-4D97-AF65-F5344CB8AC3E}">
        <p14:creationId xmlns:p14="http://schemas.microsoft.com/office/powerpoint/2010/main" val="1961791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E3F33-C3B5-E055-DCEE-2F9C85028D71}"/>
              </a:ext>
            </a:extLst>
          </p:cNvPr>
          <p:cNvSpPr>
            <a:spLocks noGrp="1"/>
          </p:cNvSpPr>
          <p:nvPr>
            <p:ph type="title"/>
          </p:nvPr>
        </p:nvSpPr>
        <p:spPr/>
        <p:txBody>
          <a:bodyPr/>
          <a:lstStyle/>
          <a:p>
            <a:r>
              <a:rPr lang="en-US" dirty="0">
                <a:ea typeface="Lato Medium"/>
                <a:cs typeface="Lato Medium"/>
              </a:rPr>
              <a:t>Data Collection Timelines</a:t>
            </a:r>
            <a:endParaRPr lang="en-US" dirty="0"/>
          </a:p>
        </p:txBody>
      </p:sp>
      <p:sp>
        <p:nvSpPr>
          <p:cNvPr id="3" name="Content Placeholder 2">
            <a:extLst>
              <a:ext uri="{FF2B5EF4-FFF2-40B4-BE49-F238E27FC236}">
                <a16:creationId xmlns:a16="http://schemas.microsoft.com/office/drawing/2014/main" id="{A8FB859F-8E0E-956F-2CC7-6B79360725AD}"/>
              </a:ext>
            </a:extLst>
          </p:cNvPr>
          <p:cNvSpPr>
            <a:spLocks noGrp="1"/>
          </p:cNvSpPr>
          <p:nvPr>
            <p:ph idx="1"/>
          </p:nvPr>
        </p:nvSpPr>
        <p:spPr/>
        <p:txBody>
          <a:bodyPr vert="horz" lIns="91440" tIns="45720" rIns="91440" bIns="45720" rtlCol="0" anchor="t">
            <a:noAutofit/>
          </a:bodyPr>
          <a:lstStyle/>
          <a:p>
            <a:r>
              <a:rPr lang="en-US" dirty="0">
                <a:ea typeface="Lato"/>
                <a:cs typeface="Lato"/>
              </a:rPr>
              <a:t>Baseline Data (October-December 2024): Due February 15th</a:t>
            </a:r>
          </a:p>
          <a:p>
            <a:r>
              <a:rPr lang="en-US" dirty="0">
                <a:ea typeface="Lato"/>
                <a:cs typeface="Calibri"/>
              </a:rPr>
              <a:t>Ongoing data due on the final day of the following month:</a:t>
            </a:r>
          </a:p>
          <a:p>
            <a:pPr lvl="1">
              <a:buClr>
                <a:srgbClr val="1C498B"/>
              </a:buClr>
              <a:buFont typeface="Courier New,monospace" panose="020B0604020202020204" pitchFamily="34" charset="0"/>
              <a:buChar char="o"/>
            </a:pPr>
            <a:r>
              <a:rPr lang="en-US" dirty="0">
                <a:ea typeface="Lato"/>
                <a:cs typeface="Calibri"/>
              </a:rPr>
              <a:t>January Data Due February 29th</a:t>
            </a:r>
          </a:p>
          <a:p>
            <a:pPr lvl="1">
              <a:buClr>
                <a:srgbClr val="1C498B"/>
              </a:buClr>
              <a:buFont typeface="Courier New,monospace" panose="020B0604020202020204" pitchFamily="34" charset="0"/>
              <a:buChar char="o"/>
            </a:pPr>
            <a:r>
              <a:rPr lang="en-US" dirty="0">
                <a:ea typeface="Lato"/>
                <a:cs typeface="Calibri"/>
              </a:rPr>
              <a:t>February Data due March 31st</a:t>
            </a:r>
          </a:p>
          <a:p>
            <a:pPr lvl="1">
              <a:buClr>
                <a:srgbClr val="1C498B"/>
              </a:buClr>
              <a:buFont typeface="Courier New,monospace" panose="020B0604020202020204" pitchFamily="34" charset="0"/>
              <a:buChar char="o"/>
            </a:pPr>
            <a:r>
              <a:rPr lang="en-US" dirty="0">
                <a:ea typeface="Lato"/>
                <a:cs typeface="Calibri"/>
              </a:rPr>
              <a:t>March Data Due April 30th</a:t>
            </a:r>
            <a:endParaRPr lang="en-US" dirty="0"/>
          </a:p>
          <a:p>
            <a:r>
              <a:rPr lang="en-US" dirty="0">
                <a:ea typeface="Lato"/>
                <a:cs typeface="Lato"/>
              </a:rPr>
              <a:t>Award Data: Baseline – March data due April 30th</a:t>
            </a:r>
          </a:p>
        </p:txBody>
      </p:sp>
      <p:sp>
        <p:nvSpPr>
          <p:cNvPr id="4" name="Slide Number Placeholder 3">
            <a:extLst>
              <a:ext uri="{FF2B5EF4-FFF2-40B4-BE49-F238E27FC236}">
                <a16:creationId xmlns:a16="http://schemas.microsoft.com/office/drawing/2014/main" id="{578FBD2C-EF0D-27DE-A30C-E3B2A26CD63A}"/>
              </a:ext>
            </a:extLst>
          </p:cNvPr>
          <p:cNvSpPr>
            <a:spLocks noGrp="1"/>
          </p:cNvSpPr>
          <p:nvPr>
            <p:ph type="sldNum" sz="quarter" idx="10"/>
          </p:nvPr>
        </p:nvSpPr>
        <p:spPr/>
        <p:txBody>
          <a:bodyPr/>
          <a:lstStyle/>
          <a:p>
            <a:fld id="{97033E4B-E3EB-3D46-B2D8-3159663620FA}" type="slidenum">
              <a:rPr lang="en-US" smtClean="0"/>
              <a:pPr/>
              <a:t>34</a:t>
            </a:fld>
            <a:endParaRPr lang="en-US"/>
          </a:p>
        </p:txBody>
      </p:sp>
      <p:sp>
        <p:nvSpPr>
          <p:cNvPr id="5" name="Footer Placeholder 4">
            <a:extLst>
              <a:ext uri="{FF2B5EF4-FFF2-40B4-BE49-F238E27FC236}">
                <a16:creationId xmlns:a16="http://schemas.microsoft.com/office/drawing/2014/main" id="{5DD5C2F7-CC9C-B84B-F5E0-2D89F85A1AAD}"/>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831536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FEB-3306-A04E-6516-F16994F3B0F9}"/>
              </a:ext>
            </a:extLst>
          </p:cNvPr>
          <p:cNvSpPr>
            <a:spLocks noGrp="1"/>
          </p:cNvSpPr>
          <p:nvPr>
            <p:ph type="title"/>
          </p:nvPr>
        </p:nvSpPr>
        <p:spPr>
          <a:xfrm>
            <a:off x="414427" y="240582"/>
            <a:ext cx="10972800" cy="1325563"/>
          </a:xfrm>
        </p:spPr>
        <p:txBody>
          <a:bodyPr/>
          <a:lstStyle/>
          <a:p>
            <a:r>
              <a:rPr lang="en-US" dirty="0">
                <a:ea typeface="Lato Medium"/>
                <a:cs typeface="Lato Medium"/>
              </a:rPr>
              <a:t>Upcoming ESSI Meetings</a:t>
            </a:r>
          </a:p>
        </p:txBody>
      </p:sp>
      <p:graphicFrame>
        <p:nvGraphicFramePr>
          <p:cNvPr id="137" name="Diagram 136">
            <a:extLst>
              <a:ext uri="{FF2B5EF4-FFF2-40B4-BE49-F238E27FC236}">
                <a16:creationId xmlns:a16="http://schemas.microsoft.com/office/drawing/2014/main" id="{61D68665-D38F-2DB1-AAFC-535C715B7F9F}"/>
              </a:ext>
            </a:extLst>
          </p:cNvPr>
          <p:cNvGraphicFramePr/>
          <p:nvPr>
            <p:extLst>
              <p:ext uri="{D42A27DB-BD31-4B8C-83A1-F6EECF244321}">
                <p14:modId xmlns:p14="http://schemas.microsoft.com/office/powerpoint/2010/main" val="346908588"/>
              </p:ext>
            </p:extLst>
          </p:nvPr>
        </p:nvGraphicFramePr>
        <p:xfrm>
          <a:off x="545838" y="956828"/>
          <a:ext cx="11191045" cy="552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0" name="Rectangle: Rounded Corners 359">
            <a:extLst>
              <a:ext uri="{FF2B5EF4-FFF2-40B4-BE49-F238E27FC236}">
                <a16:creationId xmlns:a16="http://schemas.microsoft.com/office/drawing/2014/main" id="{FE59A3A2-BFF2-9772-51D6-9CCB620AEB53}"/>
              </a:ext>
            </a:extLst>
          </p:cNvPr>
          <p:cNvSpPr/>
          <p:nvPr/>
        </p:nvSpPr>
        <p:spPr>
          <a:xfrm>
            <a:off x="895494" y="6060331"/>
            <a:ext cx="10491732" cy="67120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dirty="0">
                <a:cs typeface="Calibri"/>
              </a:rPr>
              <a:t>Visit ilpqc.org/ESSI to register for the calls!</a:t>
            </a:r>
            <a:endParaRPr lang="en-US" sz="3600" dirty="0"/>
          </a:p>
        </p:txBody>
      </p:sp>
      <p:sp>
        <p:nvSpPr>
          <p:cNvPr id="450" name="Star: 5 Points 449">
            <a:extLst>
              <a:ext uri="{FF2B5EF4-FFF2-40B4-BE49-F238E27FC236}">
                <a16:creationId xmlns:a16="http://schemas.microsoft.com/office/drawing/2014/main" id="{3FF9DEE6-802A-29EE-A6D0-AD98F6E08823}"/>
              </a:ext>
            </a:extLst>
          </p:cNvPr>
          <p:cNvSpPr/>
          <p:nvPr/>
        </p:nvSpPr>
        <p:spPr>
          <a:xfrm>
            <a:off x="-1528" y="1455616"/>
            <a:ext cx="1840301" cy="1322718"/>
          </a:xfrm>
          <a:prstGeom prst="star5">
            <a:avLst/>
          </a:prstGeom>
          <a:solidFill>
            <a:srgbClr val="FFFF00"/>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a typeface="Calibri"/>
              <a:cs typeface="Calibri"/>
            </a:endParaRPr>
          </a:p>
        </p:txBody>
      </p:sp>
      <p:sp>
        <p:nvSpPr>
          <p:cNvPr id="451" name="TextBox 450">
            <a:extLst>
              <a:ext uri="{FF2B5EF4-FFF2-40B4-BE49-F238E27FC236}">
                <a16:creationId xmlns:a16="http://schemas.microsoft.com/office/drawing/2014/main" id="{3776096E-45C6-5BFE-2499-2A66E529005D}"/>
              </a:ext>
            </a:extLst>
          </p:cNvPr>
          <p:cNvSpPr txBox="1"/>
          <p:nvPr/>
        </p:nvSpPr>
        <p:spPr>
          <a:xfrm>
            <a:off x="-6560" y="1880108"/>
            <a:ext cx="1847220" cy="8002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ea typeface="Calibri"/>
                <a:cs typeface="Calibri"/>
              </a:rPr>
              <a:t>Watch </a:t>
            </a:r>
          </a:p>
          <a:p>
            <a:pPr algn="ctr"/>
            <a:r>
              <a:rPr lang="en-US" sz="1400" b="1" dirty="0">
                <a:ea typeface="Calibri"/>
                <a:cs typeface="Calibri"/>
              </a:rPr>
              <a:t>Recording</a:t>
            </a:r>
          </a:p>
          <a:p>
            <a:pPr algn="l"/>
            <a:endParaRPr lang="en-US" dirty="0">
              <a:ea typeface="Calibri"/>
              <a:cs typeface="Calibri"/>
            </a:endParaRPr>
          </a:p>
        </p:txBody>
      </p:sp>
    </p:spTree>
    <p:extLst>
      <p:ext uri="{BB962C8B-B14F-4D97-AF65-F5344CB8AC3E}">
        <p14:creationId xmlns:p14="http://schemas.microsoft.com/office/powerpoint/2010/main" val="11418153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Freeform: Shape 2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5" name="Freeform: Shape 2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r>
              <a:rPr lang="en-US" sz="4000"/>
              <a:t>ESSI 2024 Plan: Jan-June</a:t>
            </a:r>
          </a:p>
        </p:txBody>
      </p:sp>
      <p:sp>
        <p:nvSpPr>
          <p:cNvPr id="27" name="Rectangle 2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36</a:t>
            </a:fld>
            <a:endParaRPr lang="en-US">
              <a:solidFill>
                <a:schemeClr val="tx1">
                  <a:lumMod val="50000"/>
                  <a:lumOff val="50000"/>
                </a:schemeClr>
              </a:solidFill>
            </a:endParaRPr>
          </a:p>
        </p:txBody>
      </p:sp>
      <p:graphicFrame>
        <p:nvGraphicFramePr>
          <p:cNvPr id="17" name="Content Placeholder 2">
            <a:extLst>
              <a:ext uri="{FF2B5EF4-FFF2-40B4-BE49-F238E27FC236}">
                <a16:creationId xmlns:a16="http://schemas.microsoft.com/office/drawing/2014/main" id="{9B647FFD-DB92-0E72-0606-A89EC41A7F93}"/>
              </a:ext>
            </a:extLst>
          </p:cNvPr>
          <p:cNvGraphicFramePr/>
          <p:nvPr>
            <p:extLst>
              <p:ext uri="{D42A27DB-BD31-4B8C-83A1-F6EECF244321}">
                <p14:modId xmlns:p14="http://schemas.microsoft.com/office/powerpoint/2010/main" val="2350257911"/>
              </p:ext>
            </p:extLst>
          </p:nvPr>
        </p:nvGraphicFramePr>
        <p:xfrm>
          <a:off x="4713239" y="676656"/>
          <a:ext cx="7351603"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633229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CC4529-5171-41EF-E242-F4836E180A4C}"/>
              </a:ext>
            </a:extLst>
          </p:cNvPr>
          <p:cNvSpPr>
            <a:spLocks noGrp="1"/>
          </p:cNvSpPr>
          <p:nvPr>
            <p:ph type="title"/>
          </p:nvPr>
        </p:nvSpPr>
        <p:spPr>
          <a:xfrm>
            <a:off x="504967" y="675564"/>
            <a:ext cx="3609833" cy="5204085"/>
          </a:xfrm>
        </p:spPr>
        <p:txBody>
          <a:bodyPr>
            <a:normAutofit/>
          </a:bodyPr>
          <a:lstStyle/>
          <a:p>
            <a:r>
              <a:rPr lang="en-US" dirty="0">
                <a:ea typeface="Lato Medium"/>
                <a:cs typeface="Lato Medium"/>
              </a:rPr>
              <a:t>What should my ESSI team be working on now?</a:t>
            </a:r>
            <a:endParaRPr lang="en-US" dirty="0"/>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7FB3513-4113-97AC-358F-AD6038A13085}"/>
              </a:ext>
            </a:extLst>
          </p:cNvPr>
          <p:cNvSpPr>
            <a:spLocks noGrp="1"/>
          </p:cNvSpPr>
          <p:nvPr>
            <p:ph type="sldNum" sz="quarter" idx="10"/>
          </p:nvPr>
        </p:nvSpPr>
        <p:spPr>
          <a:xfrm>
            <a:off x="11380641" y="0"/>
            <a:ext cx="811359" cy="704762"/>
          </a:xfrm>
        </p:spPr>
        <p:txBody>
          <a:bodyPr>
            <a:normAutofit/>
          </a:bodyPr>
          <a:lstStyle/>
          <a:p>
            <a:pPr algn="ctr">
              <a:spcAft>
                <a:spcPts val="600"/>
              </a:spcAft>
            </a:pPr>
            <a:fld id="{97033E4B-E3EB-3D46-B2D8-3159663620FA}" type="slidenum">
              <a:rPr lang="en-US" smtClean="0"/>
              <a:pPr algn="ctr">
                <a:spcAft>
                  <a:spcPts val="600"/>
                </a:spcAft>
              </a:pPr>
              <a:t>37</a:t>
            </a:fld>
            <a:endParaRPr lang="en-US"/>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100B16C8-06BE-BEDF-FCE3-9542B0274043}"/>
              </a:ext>
            </a:extLst>
          </p:cNvPr>
          <p:cNvSpPr>
            <a:spLocks noGrp="1"/>
          </p:cNvSpPr>
          <p:nvPr>
            <p:ph type="ftr" sz="quarter" idx="11"/>
          </p:nvPr>
        </p:nvSpPr>
        <p:spPr>
          <a:xfrm>
            <a:off x="6828293" y="6134382"/>
            <a:ext cx="4114800" cy="723618"/>
          </a:xfrm>
        </p:spPr>
        <p:txBody>
          <a:bodyPr>
            <a:normAutofit/>
          </a:bodyPr>
          <a:lstStyle/>
          <a:p>
            <a:pPr algn="r">
              <a:spcAft>
                <a:spcPts val="600"/>
              </a:spcAft>
            </a:pPr>
            <a:r>
              <a:rPr lang="en-US"/>
              <a:t>Illinois Perinatal Quality Collaborative</a:t>
            </a:r>
          </a:p>
        </p:txBody>
      </p:sp>
      <p:graphicFrame>
        <p:nvGraphicFramePr>
          <p:cNvPr id="7" name="Content Placeholder 2">
            <a:extLst>
              <a:ext uri="{FF2B5EF4-FFF2-40B4-BE49-F238E27FC236}">
                <a16:creationId xmlns:a16="http://schemas.microsoft.com/office/drawing/2014/main" id="{7A2359A2-13A0-13F8-9703-E546D92B0B98}"/>
              </a:ext>
            </a:extLst>
          </p:cNvPr>
          <p:cNvGraphicFramePr>
            <a:graphicFrameLocks noGrp="1"/>
          </p:cNvGraphicFramePr>
          <p:nvPr>
            <p:ph idx="1"/>
            <p:extLst>
              <p:ext uri="{D42A27DB-BD31-4B8C-83A1-F6EECF244321}">
                <p14:modId xmlns:p14="http://schemas.microsoft.com/office/powerpoint/2010/main" val="1988747647"/>
              </p:ext>
            </p:extLst>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110191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Triangle 11">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A590FE6-A718-DB35-8361-76567E797D89}"/>
              </a:ext>
            </a:extLst>
          </p:cNvPr>
          <p:cNvSpPr>
            <a:spLocks noGrp="1"/>
          </p:cNvSpPr>
          <p:nvPr>
            <p:ph type="title"/>
          </p:nvPr>
        </p:nvSpPr>
        <p:spPr>
          <a:xfrm>
            <a:off x="1075767" y="1188637"/>
            <a:ext cx="2988234" cy="4480726"/>
          </a:xfrm>
        </p:spPr>
        <p:txBody>
          <a:bodyPr>
            <a:normAutofit/>
          </a:bodyPr>
          <a:lstStyle/>
          <a:p>
            <a:pPr algn="r"/>
            <a:r>
              <a:rPr lang="en-US" sz="5600">
                <a:ea typeface="Lato Medium"/>
                <a:cs typeface="Lato Medium"/>
              </a:rPr>
              <a:t>Feedback on the Data System</a:t>
            </a:r>
            <a:endParaRPr lang="en-US" sz="5600"/>
          </a:p>
        </p:txBody>
      </p:sp>
      <p:sp>
        <p:nvSpPr>
          <p:cNvPr id="5" name="Footer Placeholder 4">
            <a:extLst>
              <a:ext uri="{FF2B5EF4-FFF2-40B4-BE49-F238E27FC236}">
                <a16:creationId xmlns:a16="http://schemas.microsoft.com/office/drawing/2014/main" id="{4AD61EFC-3FF8-389F-9E2C-A095A14A17AC}"/>
              </a:ext>
            </a:extLst>
          </p:cNvPr>
          <p:cNvSpPr>
            <a:spLocks noGrp="1"/>
          </p:cNvSpPr>
          <p:nvPr>
            <p:ph type="ftr" sz="quarter" idx="11"/>
          </p:nvPr>
        </p:nvSpPr>
        <p:spPr>
          <a:xfrm rot="5400000">
            <a:off x="-2374833" y="3246436"/>
            <a:ext cx="5607882" cy="365125"/>
          </a:xfrm>
        </p:spPr>
        <p:txBody>
          <a:bodyPr anchor="t">
            <a:normAutofit/>
          </a:bodyPr>
          <a:lstStyle/>
          <a:p>
            <a:pPr algn="l">
              <a:spcAft>
                <a:spcPts val="600"/>
              </a:spcAft>
            </a:pPr>
            <a:r>
              <a:rPr lang="en-US" sz="1150">
                <a:solidFill>
                  <a:schemeClr val="tx1">
                    <a:lumMod val="85000"/>
                    <a:lumOff val="15000"/>
                  </a:schemeClr>
                </a:solidFill>
              </a:rPr>
              <a:t>Illinois Perinatal Quality Collaborative</a:t>
            </a:r>
          </a:p>
        </p:txBody>
      </p:sp>
      <p:cxnSp>
        <p:nvCxnSpPr>
          <p:cNvPr id="16" name="Straight Connector 15">
            <a:extLst>
              <a:ext uri="{FF2B5EF4-FFF2-40B4-BE49-F238E27FC236}">
                <a16:creationId xmlns:a16="http://schemas.microsoft.com/office/drawing/2014/main" id="{23AAC9B5-8015-485C-ACF9-A750390E9A5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6D5E36C-F04A-48A8-F17B-86E39E55C21E}"/>
              </a:ext>
            </a:extLst>
          </p:cNvPr>
          <p:cNvSpPr>
            <a:spLocks noGrp="1"/>
          </p:cNvSpPr>
          <p:nvPr>
            <p:ph idx="1"/>
          </p:nvPr>
        </p:nvSpPr>
        <p:spPr>
          <a:xfrm>
            <a:off x="5255260" y="1648870"/>
            <a:ext cx="4702848" cy="3560260"/>
          </a:xfrm>
        </p:spPr>
        <p:txBody>
          <a:bodyPr vert="horz" lIns="91440" tIns="45720" rIns="91440" bIns="45720" rtlCol="0" anchor="ctr">
            <a:normAutofit/>
          </a:bodyPr>
          <a:lstStyle/>
          <a:p>
            <a:r>
              <a:rPr lang="en-US" dirty="0">
                <a:ea typeface="Lato"/>
                <a:cs typeface="Lato"/>
              </a:rPr>
              <a:t>If you have been a part of ILPQC initiatives, share your feedback on the data system and how it can be improved</a:t>
            </a:r>
            <a:endParaRPr lang="en-US" dirty="0"/>
          </a:p>
        </p:txBody>
      </p:sp>
    </p:spTree>
    <p:extLst>
      <p:ext uri="{BB962C8B-B14F-4D97-AF65-F5344CB8AC3E}">
        <p14:creationId xmlns:p14="http://schemas.microsoft.com/office/powerpoint/2010/main" val="34624123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Question mark on green pastel background">
            <a:extLst>
              <a:ext uri="{FF2B5EF4-FFF2-40B4-BE49-F238E27FC236}">
                <a16:creationId xmlns:a16="http://schemas.microsoft.com/office/drawing/2014/main" id="{3A359654-A2A5-BB69-5A24-18BCC5C338AC}"/>
              </a:ext>
            </a:extLst>
          </p:cNvPr>
          <p:cNvPicPr>
            <a:picLocks noChangeAspect="1"/>
          </p:cNvPicPr>
          <p:nvPr/>
        </p:nvPicPr>
        <p:blipFill rotWithShape="1">
          <a:blip r:embed="rId2"/>
          <a:srcRect l="13819" t="218" r="-7" b="8867"/>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A8D5212-512B-94C8-CCF1-6B6881A37D96}"/>
              </a:ext>
            </a:extLst>
          </p:cNvPr>
          <p:cNvSpPr>
            <a:spLocks noGrp="1"/>
          </p:cNvSpPr>
          <p:nvPr>
            <p:ph type="title"/>
          </p:nvPr>
        </p:nvSpPr>
        <p:spPr>
          <a:xfrm>
            <a:off x="770255" y="1404199"/>
            <a:ext cx="6079716" cy="3204134"/>
          </a:xfrm>
        </p:spPr>
        <p:txBody>
          <a:bodyPr vert="horz" lIns="91440" tIns="45720" rIns="91440" bIns="45720" rtlCol="0" anchor="b">
            <a:normAutofit/>
          </a:bodyPr>
          <a:lstStyle/>
          <a:p>
            <a:pPr algn="ctr">
              <a:lnSpc>
                <a:spcPct val="90000"/>
              </a:lnSpc>
            </a:pPr>
            <a:r>
              <a:rPr lang="en-US" sz="6600" dirty="0">
                <a:solidFill>
                  <a:schemeClr val="bg1"/>
                </a:solidFill>
                <a:ea typeface="+mj-ea"/>
                <a:cs typeface="+mj-cs"/>
              </a:rPr>
              <a:t>Q&amp;A</a:t>
            </a:r>
            <a:br>
              <a:rPr lang="en-US" sz="4800" dirty="0">
                <a:solidFill>
                  <a:schemeClr val="bg1"/>
                </a:solidFill>
                <a:ea typeface="+mj-ea"/>
                <a:cs typeface="Calibri"/>
              </a:rPr>
            </a:br>
            <a:br>
              <a:rPr lang="en-US" sz="4800" dirty="0">
                <a:solidFill>
                  <a:schemeClr val="bg1"/>
                </a:solidFill>
                <a:ea typeface="+mj-ea"/>
                <a:cs typeface="Calibri"/>
              </a:rPr>
            </a:br>
            <a:r>
              <a:rPr lang="en-US" sz="4000" dirty="0">
                <a:solidFill>
                  <a:schemeClr val="bg1"/>
                </a:solidFill>
                <a:ea typeface="+mj-ea"/>
                <a:cs typeface="Calibri"/>
              </a:rPr>
              <a:t>Come off mute or put your questions in the chat!</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7979332-6D70-E77E-398C-79FEE378C255}"/>
              </a:ext>
            </a:extLst>
          </p:cNvPr>
          <p:cNvSpPr>
            <a:spLocks noGrp="1"/>
          </p:cNvSpPr>
          <p:nvPr>
            <p:ph type="ftr" sz="quarter" idx="11"/>
          </p:nvPr>
        </p:nvSpPr>
        <p:spPr>
          <a:xfrm>
            <a:off x="1692321" y="6356350"/>
            <a:ext cx="2809017" cy="365125"/>
          </a:xfrm>
        </p:spPr>
        <p:txBody>
          <a:bodyPr vert="horz" lIns="91440" tIns="45720" rIns="91440" bIns="45720" rtlCol="0" anchor="ctr">
            <a:normAutofit/>
          </a:bodyPr>
          <a:lstStyle/>
          <a:p>
            <a:pPr algn="r">
              <a:spcAft>
                <a:spcPts val="600"/>
              </a:spcAft>
              <a:defRPr/>
            </a:pPr>
            <a:r>
              <a:rPr lang="en-US" kern="1200">
                <a:solidFill>
                  <a:schemeClr val="bg1"/>
                </a:solidFill>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8DB75264-273F-4605-2A91-81ECE1A7E3C2}"/>
              </a:ext>
            </a:extLst>
          </p:cNvPr>
          <p:cNvSpPr>
            <a:spLocks noGrp="1"/>
          </p:cNvSpPr>
          <p:nvPr>
            <p:ph type="sldNum" sz="quarter" idx="10"/>
          </p:nvPr>
        </p:nvSpPr>
        <p:spPr>
          <a:xfrm>
            <a:off x="8970819"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chemeClr val="bg1"/>
                </a:solidFill>
                <a:latin typeface="Calibri" panose="020F0502020204030204"/>
              </a:rPr>
              <a:pPr>
                <a:spcAft>
                  <a:spcPts val="600"/>
                </a:spcAft>
                <a:defRPr/>
              </a:pPr>
              <a:t>39</a:t>
            </a:fld>
            <a:endParaRPr lang="en-US">
              <a:solidFill>
                <a:schemeClr val="bg1"/>
              </a:solidFill>
              <a:latin typeface="Calibri" panose="020F0502020204030204"/>
            </a:endParaRPr>
          </a:p>
        </p:txBody>
      </p:sp>
    </p:spTree>
    <p:extLst>
      <p:ext uri="{BB962C8B-B14F-4D97-AF65-F5344CB8AC3E}">
        <p14:creationId xmlns:p14="http://schemas.microsoft.com/office/powerpoint/2010/main" val="1123896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AB3FF-760A-B654-5F1B-78AD5BEB6B57}"/>
              </a:ext>
            </a:extLst>
          </p:cNvPr>
          <p:cNvSpPr>
            <a:spLocks noGrp="1"/>
          </p:cNvSpPr>
          <p:nvPr>
            <p:ph type="title"/>
          </p:nvPr>
        </p:nvSpPr>
        <p:spPr>
          <a:xfrm>
            <a:off x="1398933" y="831145"/>
            <a:ext cx="9365380" cy="2014679"/>
          </a:xfrm>
        </p:spPr>
        <p:txBody>
          <a:bodyPr/>
          <a:lstStyle/>
          <a:p>
            <a:r>
              <a:rPr lang="en-US" dirty="0">
                <a:solidFill>
                  <a:srgbClr val="1C498B"/>
                </a:solidFill>
                <a:ea typeface="Calibri"/>
                <a:cs typeface="Calibri"/>
              </a:rPr>
              <a:t>ILPQC Data System (</a:t>
            </a:r>
            <a:r>
              <a:rPr lang="en-US" dirty="0" err="1">
                <a:solidFill>
                  <a:srgbClr val="1C498B"/>
                </a:solidFill>
                <a:ea typeface="Calibri"/>
                <a:cs typeface="Calibri"/>
              </a:rPr>
              <a:t>REDCap</a:t>
            </a:r>
            <a:r>
              <a:rPr lang="en-US" dirty="0">
                <a:solidFill>
                  <a:srgbClr val="1C498B"/>
                </a:solidFill>
                <a:ea typeface="Calibri"/>
                <a:cs typeface="Calibri"/>
              </a:rPr>
              <a:t>)</a:t>
            </a:r>
            <a:endParaRPr lang="en-US" dirty="0"/>
          </a:p>
        </p:txBody>
      </p:sp>
      <p:sp>
        <p:nvSpPr>
          <p:cNvPr id="3" name="Subtitle 2">
            <a:extLst>
              <a:ext uri="{FF2B5EF4-FFF2-40B4-BE49-F238E27FC236}">
                <a16:creationId xmlns:a16="http://schemas.microsoft.com/office/drawing/2014/main" id="{BFE56240-A306-0E11-425A-7323821A42F2}"/>
              </a:ext>
            </a:extLst>
          </p:cNvPr>
          <p:cNvSpPr>
            <a:spLocks noGrp="1"/>
          </p:cNvSpPr>
          <p:nvPr>
            <p:ph type="subTitle" idx="1"/>
          </p:nvPr>
        </p:nvSpPr>
        <p:spPr/>
        <p:txBody>
          <a:bodyPr vert="horz" lIns="91440" tIns="45720" rIns="91440" bIns="45720" rtlCol="0" anchor="t">
            <a:noAutofit/>
          </a:bodyPr>
          <a:lstStyle/>
          <a:p>
            <a:endParaRPr lang="en-US" dirty="0"/>
          </a:p>
        </p:txBody>
      </p:sp>
      <p:sp>
        <p:nvSpPr>
          <p:cNvPr id="4" name="TextBox 3">
            <a:extLst>
              <a:ext uri="{FF2B5EF4-FFF2-40B4-BE49-F238E27FC236}">
                <a16:creationId xmlns:a16="http://schemas.microsoft.com/office/drawing/2014/main" id="{91340450-CC8B-5BE3-0AD9-268F626BA220}"/>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31398743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Thank you note with a cup of coffee - ID: 107004">
            <a:extLst>
              <a:ext uri="{FF2B5EF4-FFF2-40B4-BE49-F238E27FC236}">
                <a16:creationId xmlns:a16="http://schemas.microsoft.com/office/drawing/2014/main" id="{21843B6A-1BD6-63DD-2D2F-94757F0C11B1}"/>
              </a:ext>
            </a:extLst>
          </p:cNvPr>
          <p:cNvPicPr>
            <a:picLocks noChangeAspect="1"/>
          </p:cNvPicPr>
          <p:nvPr/>
        </p:nvPicPr>
        <p:blipFill rotWithShape="1">
          <a:blip r:embed="rId2"/>
          <a:srcRect b="2609"/>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1E0FB995-5DD8-5081-A69E-96B5869B0012}"/>
              </a:ext>
            </a:extLst>
          </p:cNvPr>
          <p:cNvSpPr>
            <a:spLocks noGrp="1"/>
          </p:cNvSpPr>
          <p:nvPr>
            <p:ph idx="1"/>
          </p:nvPr>
        </p:nvSpPr>
        <p:spPr>
          <a:xfrm>
            <a:off x="747358" y="3967163"/>
            <a:ext cx="10962037" cy="2476499"/>
          </a:xfrm>
        </p:spPr>
        <p:txBody>
          <a:bodyPr vert="horz" lIns="91440" tIns="45720" rIns="91440" bIns="45720" rtlCol="0" anchor="ctr">
            <a:normAutofit/>
          </a:bodyPr>
          <a:lstStyle/>
          <a:p>
            <a:pPr marL="0" indent="0" algn="ctr">
              <a:buNone/>
            </a:pPr>
            <a:r>
              <a:rPr lang="en-US" sz="3200" b="1">
                <a:solidFill>
                  <a:schemeClr val="accent1"/>
                </a:solidFill>
                <a:ea typeface="Lato"/>
                <a:cs typeface="Calibri"/>
              </a:rPr>
              <a:t>We look forward to continuing this great work together in 2024 and thank you for your continued support and dedication to make Illinois the best place to give birth and be born! </a:t>
            </a:r>
            <a:endParaRPr lang="en-US">
              <a:solidFill>
                <a:schemeClr val="accent1"/>
              </a:solidFill>
            </a:endParaRPr>
          </a:p>
          <a:p>
            <a:pPr marL="0" indent="0">
              <a:buNone/>
            </a:pPr>
            <a:endParaRPr lang="en-US"/>
          </a:p>
        </p:txBody>
      </p:sp>
      <p:sp>
        <p:nvSpPr>
          <p:cNvPr id="5" name="Footer Placeholder 4">
            <a:extLst>
              <a:ext uri="{FF2B5EF4-FFF2-40B4-BE49-F238E27FC236}">
                <a16:creationId xmlns:a16="http://schemas.microsoft.com/office/drawing/2014/main" id="{38CD5E16-C217-E2C5-E58E-C7C2C28FA242}"/>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75000"/>
                    <a:lumOff val="25000"/>
                  </a:schemeClr>
                </a:solidFill>
              </a:rPr>
              <a:t>Illinois Perinatal Quality Collaborative</a:t>
            </a:r>
          </a:p>
        </p:txBody>
      </p:sp>
      <p:sp>
        <p:nvSpPr>
          <p:cNvPr id="4" name="Slide Number Placeholder 3">
            <a:extLst>
              <a:ext uri="{FF2B5EF4-FFF2-40B4-BE49-F238E27FC236}">
                <a16:creationId xmlns:a16="http://schemas.microsoft.com/office/drawing/2014/main" id="{97BA95EB-6423-FFF2-5F25-1FA3A8D2E08A}"/>
              </a:ext>
            </a:extLst>
          </p:cNvPr>
          <p:cNvSpPr>
            <a:spLocks noGrp="1"/>
          </p:cNvSpPr>
          <p:nvPr>
            <p:ph type="sldNum" sz="quarter" idx="10"/>
          </p:nvPr>
        </p:nvSpPr>
        <p:spPr>
          <a:xfrm>
            <a:off x="8864600" y="6356350"/>
            <a:ext cx="2743200" cy="365125"/>
          </a:xfrm>
        </p:spPr>
        <p:txBody>
          <a:bodyPr>
            <a:normAutofit/>
          </a:bodyPr>
          <a:lstStyle/>
          <a:p>
            <a:pPr>
              <a:spcAft>
                <a:spcPts val="600"/>
              </a:spcAft>
            </a:pPr>
            <a:fld id="{97033E4B-E3EB-3D46-B2D8-3159663620FA}" type="slidenum">
              <a:rPr lang="en-US">
                <a:solidFill>
                  <a:schemeClr val="tx1">
                    <a:lumMod val="75000"/>
                    <a:lumOff val="25000"/>
                  </a:schemeClr>
                </a:solidFill>
              </a:rPr>
              <a:pPr>
                <a:spcAft>
                  <a:spcPts val="600"/>
                </a:spcAft>
              </a:pPr>
              <a:t>40</a:t>
            </a:fld>
            <a:endParaRPr lang="en-US">
              <a:solidFill>
                <a:schemeClr val="tx1">
                  <a:lumMod val="75000"/>
                  <a:lumOff val="25000"/>
                </a:schemeClr>
              </a:solidFill>
            </a:endParaRPr>
          </a:p>
        </p:txBody>
      </p:sp>
    </p:spTree>
    <p:extLst>
      <p:ext uri="{BB962C8B-B14F-4D97-AF65-F5344CB8AC3E}">
        <p14:creationId xmlns:p14="http://schemas.microsoft.com/office/powerpoint/2010/main" val="20869397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56E9B3E6-E277-4D68-BA48-9CB43FFB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17" name="Rectangle 16">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Rectangle 20">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43631" y="809898"/>
            <a:ext cx="10173010" cy="1554480"/>
          </a:xfrm>
        </p:spPr>
        <p:txBody>
          <a:bodyPr anchor="ctr">
            <a:normAutofit/>
          </a:bodyPr>
          <a:lstStyle/>
          <a:p>
            <a:r>
              <a:rPr lang="en-US" sz="4800" dirty="0">
                <a:ea typeface="Calibri"/>
                <a:cs typeface="Calibri"/>
              </a:rPr>
              <a:t>ILPQC Pillars Support QI Success</a:t>
            </a:r>
          </a:p>
        </p:txBody>
      </p:sp>
      <p:cxnSp>
        <p:nvCxnSpPr>
          <p:cNvPr id="23" name="Straight Connector 22">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p:cNvSpPr>
          <p:nvPr/>
        </p:nvSpPr>
        <p:spPr>
          <a:xfrm>
            <a:off x="7770980" y="6004188"/>
            <a:ext cx="1677158" cy="223233"/>
          </a:xfrm>
          <a:prstGeom prst="rect">
            <a:avLst/>
          </a:prstGeom>
        </p:spPr>
        <p:txBody>
          <a:bodyPr/>
          <a:lstStyle/>
          <a:p>
            <a:pPr defTabSz="557784">
              <a:spcAft>
                <a:spcPts val="600"/>
              </a:spcAft>
            </a:pPr>
            <a:fld id="{97033E4B-E3EB-3D46-B2D8-3159663620FA}" type="slidenum">
              <a:rPr lang="en-US" sz="1098" kern="1200" dirty="0">
                <a:solidFill>
                  <a:schemeClr val="tx1"/>
                </a:solidFill>
                <a:latin typeface="+mn-lt"/>
                <a:ea typeface="+mn-ea"/>
                <a:cs typeface="+mn-cs"/>
              </a:rPr>
              <a:pPr defTabSz="557784">
                <a:spcAft>
                  <a:spcPts val="600"/>
                </a:spcAft>
              </a:pPr>
              <a:t>5</a:t>
            </a:fld>
            <a:endParaRPr lang="en-US"/>
          </a:p>
        </p:txBody>
      </p:sp>
      <p:sp>
        <p:nvSpPr>
          <p:cNvPr id="5" name="Footer Placeholder 4"/>
          <p:cNvSpPr>
            <a:spLocks/>
          </p:cNvSpPr>
          <p:nvPr/>
        </p:nvSpPr>
        <p:spPr>
          <a:xfrm>
            <a:off x="2739505" y="6004188"/>
            <a:ext cx="2515737" cy="223233"/>
          </a:xfrm>
          <a:prstGeom prst="rect">
            <a:avLst/>
          </a:prstGeom>
        </p:spPr>
        <p:txBody>
          <a:bodyPr/>
          <a:lstStyle/>
          <a:p>
            <a:pPr defTabSz="557784">
              <a:spcAft>
                <a:spcPts val="600"/>
              </a:spcAft>
            </a:pPr>
            <a:r>
              <a:rPr lang="en-US" sz="1098" kern="1200">
                <a:solidFill>
                  <a:schemeClr val="tx1"/>
                </a:solidFill>
                <a:latin typeface="+mn-lt"/>
                <a:ea typeface="+mn-ea"/>
                <a:cs typeface="+mn-cs"/>
              </a:rPr>
              <a:t>Illinois Perinatal Quality Collaborative</a:t>
            </a:r>
            <a:endParaRPr lang="en-US"/>
          </a:p>
        </p:txBody>
      </p:sp>
      <p:pic>
        <p:nvPicPr>
          <p:cNvPr id="8" name="Content Placeholder 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68092" y="2514311"/>
            <a:ext cx="5843265" cy="3892627"/>
          </a:xfrm>
          <a:prstGeom prst="rect">
            <a:avLst/>
          </a:prstGeom>
        </p:spPr>
      </p:pic>
      <p:sp>
        <p:nvSpPr>
          <p:cNvPr id="9" name="TextBox 8"/>
          <p:cNvSpPr txBox="1"/>
          <p:nvPr/>
        </p:nvSpPr>
        <p:spPr>
          <a:xfrm>
            <a:off x="3746412" y="6003643"/>
            <a:ext cx="4038413" cy="261610"/>
          </a:xfrm>
          <a:prstGeom prst="rect">
            <a:avLst/>
          </a:prstGeom>
          <a:noFill/>
        </p:spPr>
        <p:txBody>
          <a:bodyPr wrap="square" lIns="91440" tIns="45720" rIns="91440" bIns="45720" rtlCol="0" anchor="t">
            <a:spAutoFit/>
          </a:bodyPr>
          <a:lstStyle/>
          <a:p>
            <a:pPr algn="ctr" defTabSz="557784">
              <a:spcAft>
                <a:spcPts val="600"/>
              </a:spcAft>
            </a:pPr>
            <a:r>
              <a:rPr lang="en-US" sz="1100" kern="1200" dirty="0">
                <a:solidFill>
                  <a:schemeClr val="bg1"/>
                </a:solidFill>
                <a:latin typeface="+mn-lt"/>
                <a:ea typeface="+mn-lt"/>
                <a:cs typeface="+mn-lt"/>
              </a:rPr>
              <a:t>Hospital Teams, Community Stakeholders, Patients/Families</a:t>
            </a:r>
            <a:endParaRPr lang="en-US" sz="1100">
              <a:solidFill>
                <a:schemeClr val="bg1"/>
              </a:solidFill>
              <a:ea typeface="+mn-lt"/>
              <a:cs typeface="+mn-lt"/>
            </a:endParaRPr>
          </a:p>
        </p:txBody>
      </p:sp>
      <p:sp>
        <p:nvSpPr>
          <p:cNvPr id="3" name="Oval 2">
            <a:extLst>
              <a:ext uri="{FF2B5EF4-FFF2-40B4-BE49-F238E27FC236}">
                <a16:creationId xmlns:a16="http://schemas.microsoft.com/office/drawing/2014/main" id="{C3F851F6-772C-CCD7-F5C3-F84D7C2CE2C9}"/>
              </a:ext>
            </a:extLst>
          </p:cNvPr>
          <p:cNvSpPr/>
          <p:nvPr/>
        </p:nvSpPr>
        <p:spPr>
          <a:xfrm>
            <a:off x="5302720" y="4160207"/>
            <a:ext cx="974815" cy="1637348"/>
          </a:xfrm>
          <a:prstGeom prst="ellipse">
            <a:avLst/>
          </a:prstGeom>
          <a:noFill/>
          <a:ln w="57150">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9369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38A15-F437-68D4-81DF-DBC477C993DE}"/>
              </a:ext>
            </a:extLst>
          </p:cNvPr>
          <p:cNvSpPr>
            <a:spLocks noGrp="1"/>
          </p:cNvSpPr>
          <p:nvPr>
            <p:ph type="title"/>
          </p:nvPr>
        </p:nvSpPr>
        <p:spPr/>
        <p:txBody>
          <a:bodyPr/>
          <a:lstStyle/>
          <a:p>
            <a:r>
              <a:rPr lang="en-US" dirty="0">
                <a:ea typeface="Lato Medium"/>
                <a:cs typeface="Lato Medium"/>
              </a:rPr>
              <a:t>Data is Yours!</a:t>
            </a:r>
          </a:p>
        </p:txBody>
      </p:sp>
      <p:sp>
        <p:nvSpPr>
          <p:cNvPr id="3" name="Content Placeholder 2">
            <a:extLst>
              <a:ext uri="{FF2B5EF4-FFF2-40B4-BE49-F238E27FC236}">
                <a16:creationId xmlns:a16="http://schemas.microsoft.com/office/drawing/2014/main" id="{8DE65E7E-52D5-824B-D062-E5E6FF08565D}"/>
              </a:ext>
            </a:extLst>
          </p:cNvPr>
          <p:cNvSpPr>
            <a:spLocks noGrp="1"/>
          </p:cNvSpPr>
          <p:nvPr>
            <p:ph idx="1"/>
          </p:nvPr>
        </p:nvSpPr>
        <p:spPr/>
        <p:txBody>
          <a:bodyPr vert="horz" lIns="91440" tIns="45720" rIns="91440" bIns="45720" rtlCol="0" anchor="t">
            <a:noAutofit/>
          </a:bodyPr>
          <a:lstStyle/>
          <a:p>
            <a:r>
              <a:rPr lang="en-US" dirty="0">
                <a:ea typeface="Lato"/>
                <a:cs typeface="Lato"/>
              </a:rPr>
              <a:t>ILPQC manages the rapid-response data sytem (REDCap), but data collection and reporting is </a:t>
            </a:r>
            <a:r>
              <a:rPr lang="en-US" b="1" dirty="0">
                <a:ea typeface="Lato"/>
                <a:cs typeface="Lato"/>
              </a:rPr>
              <a:t>designed for your hospital team</a:t>
            </a:r>
            <a:r>
              <a:rPr lang="en-US" dirty="0">
                <a:ea typeface="Lato"/>
                <a:cs typeface="Lato"/>
              </a:rPr>
              <a:t> </a:t>
            </a:r>
          </a:p>
          <a:p>
            <a:r>
              <a:rPr lang="en-US" dirty="0">
                <a:ea typeface="Lato"/>
                <a:cs typeface="Lato"/>
              </a:rPr>
              <a:t>Share success with others at your hospital </a:t>
            </a:r>
          </a:p>
          <a:p>
            <a:r>
              <a:rPr lang="en-US" dirty="0">
                <a:ea typeface="Lato"/>
                <a:cs typeface="Lato"/>
              </a:rPr>
              <a:t>Review areas that you still need to work on and use data to compel others on your team to work for change </a:t>
            </a:r>
          </a:p>
          <a:p>
            <a:r>
              <a:rPr lang="en-US" dirty="0">
                <a:ea typeface="Lato"/>
                <a:cs typeface="Lato"/>
              </a:rPr>
              <a:t>Compare your hospital progress over time with aggregate data of all ILPQC BASIC teams</a:t>
            </a:r>
          </a:p>
        </p:txBody>
      </p:sp>
      <p:sp>
        <p:nvSpPr>
          <p:cNvPr id="4" name="Slide Number Placeholder 3">
            <a:extLst>
              <a:ext uri="{FF2B5EF4-FFF2-40B4-BE49-F238E27FC236}">
                <a16:creationId xmlns:a16="http://schemas.microsoft.com/office/drawing/2014/main" id="{17FF030B-1C94-7921-8661-4F6318266C73}"/>
              </a:ext>
            </a:extLst>
          </p:cNvPr>
          <p:cNvSpPr>
            <a:spLocks noGrp="1"/>
          </p:cNvSpPr>
          <p:nvPr>
            <p:ph type="sldNum" sz="quarter" idx="10"/>
          </p:nvPr>
        </p:nvSpPr>
        <p:spPr/>
        <p:txBody>
          <a:bodyPr/>
          <a:lstStyle/>
          <a:p>
            <a:fld id="{97033E4B-E3EB-3D46-B2D8-3159663620FA}" type="slidenum">
              <a:rPr lang="en-US" smtClean="0"/>
              <a:pPr/>
              <a:t>6</a:t>
            </a:fld>
            <a:endParaRPr lang="en-US"/>
          </a:p>
        </p:txBody>
      </p:sp>
      <p:sp>
        <p:nvSpPr>
          <p:cNvPr id="5" name="Footer Placeholder 4">
            <a:extLst>
              <a:ext uri="{FF2B5EF4-FFF2-40B4-BE49-F238E27FC236}">
                <a16:creationId xmlns:a16="http://schemas.microsoft.com/office/drawing/2014/main" id="{4DA1E598-51BD-52DE-DD20-7A3CD0D9252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70430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51FD3-B619-698D-38DF-D5D943692C4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A2557B-6AAE-995B-7224-F5877C99C9E2}"/>
              </a:ext>
            </a:extLst>
          </p:cNvPr>
          <p:cNvSpPr>
            <a:spLocks noGrp="1"/>
          </p:cNvSpPr>
          <p:nvPr>
            <p:ph type="title"/>
          </p:nvPr>
        </p:nvSpPr>
        <p:spPr>
          <a:xfrm>
            <a:off x="1398933" y="831145"/>
            <a:ext cx="9365380" cy="2014679"/>
          </a:xfrm>
        </p:spPr>
        <p:txBody>
          <a:bodyPr/>
          <a:lstStyle/>
          <a:p>
            <a:r>
              <a:rPr lang="en-US" dirty="0">
                <a:solidFill>
                  <a:srgbClr val="1C498B"/>
                </a:solidFill>
                <a:ea typeface="+mj-lt"/>
                <a:cs typeface="+mj-lt"/>
              </a:rPr>
              <a:t>Accessing </a:t>
            </a:r>
            <a:r>
              <a:rPr lang="en-US" dirty="0" err="1">
                <a:solidFill>
                  <a:srgbClr val="1C498B"/>
                </a:solidFill>
                <a:ea typeface="+mj-lt"/>
                <a:cs typeface="+mj-lt"/>
              </a:rPr>
              <a:t>REDcap</a:t>
            </a:r>
            <a:endParaRPr lang="en-US" dirty="0" err="1">
              <a:ea typeface="Calibri"/>
              <a:cs typeface="Calibri"/>
            </a:endParaRPr>
          </a:p>
        </p:txBody>
      </p:sp>
      <p:sp>
        <p:nvSpPr>
          <p:cNvPr id="3" name="Subtitle 2">
            <a:extLst>
              <a:ext uri="{FF2B5EF4-FFF2-40B4-BE49-F238E27FC236}">
                <a16:creationId xmlns:a16="http://schemas.microsoft.com/office/drawing/2014/main" id="{BB918C27-437D-E627-BFB7-D73A50715B68}"/>
              </a:ext>
            </a:extLst>
          </p:cNvPr>
          <p:cNvSpPr>
            <a:spLocks noGrp="1"/>
          </p:cNvSpPr>
          <p:nvPr>
            <p:ph type="subTitle" idx="1"/>
          </p:nvPr>
        </p:nvSpPr>
        <p:spPr/>
        <p:txBody>
          <a:bodyPr vert="horz" lIns="91440" tIns="45720" rIns="91440" bIns="45720" rtlCol="0" anchor="t">
            <a:noAutofit/>
          </a:bodyPr>
          <a:lstStyle/>
          <a:p>
            <a:endParaRPr lang="en-US" dirty="0"/>
          </a:p>
        </p:txBody>
      </p:sp>
      <p:sp>
        <p:nvSpPr>
          <p:cNvPr id="4" name="TextBox 3">
            <a:extLst>
              <a:ext uri="{FF2B5EF4-FFF2-40B4-BE49-F238E27FC236}">
                <a16:creationId xmlns:a16="http://schemas.microsoft.com/office/drawing/2014/main" id="{2E8E346B-ED9A-6E38-4AE5-86DE31C16F83}"/>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25253210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4159DB-6549-CDBE-94A4-9560F62347FA}"/>
              </a:ext>
            </a:extLst>
          </p:cNvPr>
          <p:cNvSpPr>
            <a:spLocks noGrp="1"/>
          </p:cNvSpPr>
          <p:nvPr>
            <p:ph type="title"/>
          </p:nvPr>
        </p:nvSpPr>
        <p:spPr>
          <a:xfrm>
            <a:off x="582571" y="124086"/>
            <a:ext cx="4368602" cy="1956841"/>
          </a:xfrm>
        </p:spPr>
        <p:txBody>
          <a:bodyPr anchor="b">
            <a:normAutofit/>
          </a:bodyPr>
          <a:lstStyle/>
          <a:p>
            <a:r>
              <a:rPr lang="en-US" sz="5400">
                <a:ea typeface="Lato Medium"/>
                <a:cs typeface="Lato Medium"/>
              </a:rPr>
              <a:t>REDcap Access</a:t>
            </a:r>
            <a:endParaRPr lang="en-US" sz="5400"/>
          </a:p>
        </p:txBody>
      </p:sp>
      <p:sp>
        <p:nvSpPr>
          <p:cNvPr id="3" name="Content Placeholder 2">
            <a:extLst>
              <a:ext uri="{FF2B5EF4-FFF2-40B4-BE49-F238E27FC236}">
                <a16:creationId xmlns:a16="http://schemas.microsoft.com/office/drawing/2014/main" id="{3846A8C3-E3A7-FFD9-66D0-794C657EE456}"/>
              </a:ext>
            </a:extLst>
          </p:cNvPr>
          <p:cNvSpPr>
            <a:spLocks noGrp="1"/>
          </p:cNvSpPr>
          <p:nvPr>
            <p:ph idx="1"/>
          </p:nvPr>
        </p:nvSpPr>
        <p:spPr>
          <a:xfrm>
            <a:off x="640080" y="2872899"/>
            <a:ext cx="4243589" cy="3320668"/>
          </a:xfrm>
        </p:spPr>
        <p:txBody>
          <a:bodyPr vert="horz" lIns="91440" tIns="45720" rIns="91440" bIns="45720" rtlCol="0" anchor="t">
            <a:noAutofit/>
          </a:bodyPr>
          <a:lstStyle/>
          <a:p>
            <a:r>
              <a:rPr lang="en-US" sz="2500" dirty="0" err="1">
                <a:ea typeface="+mn-lt"/>
                <a:cs typeface="+mn-lt"/>
              </a:rPr>
              <a:t>REDCap</a:t>
            </a:r>
            <a:r>
              <a:rPr lang="en-US" sz="2500" dirty="0">
                <a:ea typeface="+mn-lt"/>
                <a:cs typeface="+mn-lt"/>
              </a:rPr>
              <a:t> access will be granted by those identified when you submitted your ESSI team roster </a:t>
            </a:r>
          </a:p>
          <a:p>
            <a:r>
              <a:rPr lang="en-US" sz="2500" dirty="0">
                <a:ea typeface="+mn-lt"/>
                <a:cs typeface="+mn-lt"/>
              </a:rPr>
              <a:t>If you have edits to those who need access, please email </a:t>
            </a:r>
            <a:r>
              <a:rPr lang="en-US" sz="2500" dirty="0">
                <a:ea typeface="+mn-lt"/>
                <a:cs typeface="+mn-lt"/>
                <a:hlinkClick r:id="rId2"/>
              </a:rPr>
              <a:t>info@ilpqc.org</a:t>
            </a:r>
            <a:endParaRPr lang="en-US" sz="2500">
              <a:ea typeface="+mn-lt"/>
              <a:cs typeface="+mn-lt"/>
            </a:endParaRPr>
          </a:p>
          <a:p>
            <a:pPr marL="0" indent="0">
              <a:buNone/>
            </a:pPr>
            <a:endParaRPr lang="en-US" sz="2500" dirty="0">
              <a:ea typeface="Lato"/>
              <a:cs typeface="Lato"/>
            </a:endParaRPr>
          </a:p>
        </p:txBody>
      </p:sp>
      <p:pic>
        <p:nvPicPr>
          <p:cNvPr id="6" name="Picture 5" descr="Close-up of woman's hands typing and using a trackpad on a laptop with mug">
            <a:extLst>
              <a:ext uri="{FF2B5EF4-FFF2-40B4-BE49-F238E27FC236}">
                <a16:creationId xmlns:a16="http://schemas.microsoft.com/office/drawing/2014/main" id="{E980A6D2-0325-7DA8-CD0A-30BC07B65A5C}"/>
              </a:ext>
            </a:extLst>
          </p:cNvPr>
          <p:cNvPicPr>
            <a:picLocks noChangeAspect="1"/>
          </p:cNvPicPr>
          <p:nvPr/>
        </p:nvPicPr>
        <p:blipFill rotWithShape="1">
          <a:blip r:embed="rId3"/>
          <a:srcRect l="23627" r="36251"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5" name="Footer Placeholder 4">
            <a:extLst>
              <a:ext uri="{FF2B5EF4-FFF2-40B4-BE49-F238E27FC236}">
                <a16:creationId xmlns:a16="http://schemas.microsoft.com/office/drawing/2014/main" id="{EAB01E47-1A0D-ECD9-9045-C6DBA08AC91A}"/>
              </a:ext>
            </a:extLst>
          </p:cNvPr>
          <p:cNvSpPr>
            <a:spLocks noGrp="1"/>
          </p:cNvSpPr>
          <p:nvPr>
            <p:ph type="ftr" sz="quarter" idx="11"/>
          </p:nvPr>
        </p:nvSpPr>
        <p:spPr>
          <a:xfrm>
            <a:off x="6248400" y="6356350"/>
            <a:ext cx="4114800" cy="365125"/>
          </a:xfrm>
        </p:spPr>
        <p:txBody>
          <a:bodyPr>
            <a:normAutofit/>
          </a:bodyPr>
          <a:lstStyle/>
          <a:p>
            <a:pPr algn="l">
              <a:spcAft>
                <a:spcPts val="600"/>
              </a:spcAft>
            </a:pPr>
            <a:r>
              <a:rPr lang="en-US">
                <a:solidFill>
                  <a:srgbClr val="FFFFFF"/>
                </a:solidFill>
              </a:rPr>
              <a:t>Illinois Perinatal Quality Collaborative</a:t>
            </a:r>
          </a:p>
        </p:txBody>
      </p:sp>
      <p:sp>
        <p:nvSpPr>
          <p:cNvPr id="4" name="Slide Number Placeholder 3">
            <a:extLst>
              <a:ext uri="{FF2B5EF4-FFF2-40B4-BE49-F238E27FC236}">
                <a16:creationId xmlns:a16="http://schemas.microsoft.com/office/drawing/2014/main" id="{E7976E66-E5F5-49CD-B29C-E88DB1406A4F}"/>
              </a:ext>
            </a:extLst>
          </p:cNvPr>
          <p:cNvSpPr>
            <a:spLocks noGrp="1"/>
          </p:cNvSpPr>
          <p:nvPr>
            <p:ph type="sldNum" sz="quarter" idx="10"/>
          </p:nvPr>
        </p:nvSpPr>
        <p:spPr>
          <a:xfrm>
            <a:off x="10439400" y="6356350"/>
            <a:ext cx="914400" cy="365125"/>
          </a:xfrm>
        </p:spPr>
        <p:txBody>
          <a:bodyPr>
            <a:normAutofit/>
          </a:bodyPr>
          <a:lstStyle/>
          <a:p>
            <a:pPr>
              <a:spcAft>
                <a:spcPts val="600"/>
              </a:spcAft>
            </a:pPr>
            <a:fld id="{97033E4B-E3EB-3D46-B2D8-3159663620FA}" type="slidenum">
              <a:rPr lang="en-US">
                <a:solidFill>
                  <a:srgbClr val="FFFFFF"/>
                </a:solidFill>
              </a:rPr>
              <a:pPr>
                <a:spcAft>
                  <a:spcPts val="600"/>
                </a:spcAft>
              </a:pPr>
              <a:t>8</a:t>
            </a:fld>
            <a:endParaRPr lang="en-US">
              <a:solidFill>
                <a:srgbClr val="FFFFFF"/>
              </a:solidFill>
            </a:endParaRPr>
          </a:p>
        </p:txBody>
      </p:sp>
    </p:spTree>
    <p:extLst>
      <p:ext uri="{BB962C8B-B14F-4D97-AF65-F5344CB8AC3E}">
        <p14:creationId xmlns:p14="http://schemas.microsoft.com/office/powerpoint/2010/main" val="30262354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C7BFC-0CCC-3C1A-3FA3-98145A949055}"/>
              </a:ext>
            </a:extLst>
          </p:cNvPr>
          <p:cNvSpPr>
            <a:spLocks noGrp="1"/>
          </p:cNvSpPr>
          <p:nvPr>
            <p:ph type="title"/>
          </p:nvPr>
        </p:nvSpPr>
        <p:spPr/>
        <p:txBody>
          <a:bodyPr/>
          <a:lstStyle/>
          <a:p>
            <a:r>
              <a:rPr lang="en-US" dirty="0">
                <a:ea typeface="Lato Medium"/>
                <a:cs typeface="Lato Medium"/>
              </a:rPr>
              <a:t>Key Steps when Accessing </a:t>
            </a:r>
            <a:r>
              <a:rPr lang="en-US" dirty="0" err="1">
                <a:ea typeface="Lato Medium"/>
                <a:cs typeface="Lato Medium"/>
              </a:rPr>
              <a:t>REDcap</a:t>
            </a:r>
            <a:endParaRPr lang="en-US" dirty="0" err="1"/>
          </a:p>
        </p:txBody>
      </p:sp>
      <p:sp>
        <p:nvSpPr>
          <p:cNvPr id="3" name="Content Placeholder 2">
            <a:extLst>
              <a:ext uri="{FF2B5EF4-FFF2-40B4-BE49-F238E27FC236}">
                <a16:creationId xmlns:a16="http://schemas.microsoft.com/office/drawing/2014/main" id="{C20FF2E5-1A48-DE57-9A64-F917A931DCA8}"/>
              </a:ext>
            </a:extLst>
          </p:cNvPr>
          <p:cNvSpPr>
            <a:spLocks noGrp="1"/>
          </p:cNvSpPr>
          <p:nvPr>
            <p:ph idx="1"/>
          </p:nvPr>
        </p:nvSpPr>
        <p:spPr>
          <a:xfrm>
            <a:off x="595223" y="1552455"/>
            <a:ext cx="10972800" cy="4351338"/>
          </a:xfrm>
        </p:spPr>
        <p:txBody>
          <a:bodyPr vert="horz" lIns="91440" tIns="45720" rIns="91440" bIns="45720" rtlCol="0" anchor="t">
            <a:noAutofit/>
          </a:bodyPr>
          <a:lstStyle/>
          <a:p>
            <a:r>
              <a:rPr lang="en-US" dirty="0">
                <a:ea typeface="+mn-lt"/>
                <a:cs typeface="+mn-lt"/>
              </a:rPr>
              <a:t>Add </a:t>
            </a:r>
            <a:r>
              <a:rPr lang="en-US" dirty="0">
                <a:ea typeface="+mn-lt"/>
                <a:cs typeface="+mn-lt"/>
                <a:hlinkClick r:id="rId2"/>
              </a:rPr>
              <a:t>https://redcap.healthlnk.org</a:t>
            </a:r>
            <a:r>
              <a:rPr lang="en-US">
                <a:ea typeface="+mn-lt"/>
                <a:cs typeface="+mn-lt"/>
              </a:rPr>
              <a:t> to</a:t>
            </a:r>
            <a:r>
              <a:rPr lang="en-US" dirty="0">
                <a:ea typeface="+mn-lt"/>
                <a:cs typeface="+mn-lt"/>
              </a:rPr>
              <a:t> your bookmarks bar on your computer </a:t>
            </a:r>
            <a:endParaRPr lang="en-US" dirty="0"/>
          </a:p>
          <a:p>
            <a:r>
              <a:rPr lang="en-US" dirty="0">
                <a:ea typeface="+mn-lt"/>
                <a:cs typeface="+mn-lt"/>
              </a:rPr>
              <a:t>Use your username &amp; password to log in. Please email </a:t>
            </a:r>
            <a:r>
              <a:rPr lang="en-US" dirty="0">
                <a:ea typeface="+mn-lt"/>
                <a:cs typeface="+mn-lt"/>
                <a:hlinkClick r:id="rId3"/>
              </a:rPr>
              <a:t>redcap@healthlnk.org</a:t>
            </a:r>
            <a:r>
              <a:rPr lang="en-US" dirty="0">
                <a:ea typeface="+mn-lt"/>
                <a:cs typeface="+mn-lt"/>
              </a:rPr>
              <a:t> or </a:t>
            </a:r>
            <a:r>
              <a:rPr lang="en-US" dirty="0">
                <a:ea typeface="+mn-lt"/>
                <a:cs typeface="+mn-lt"/>
                <a:hlinkClick r:id="rId4"/>
              </a:rPr>
              <a:t>info@ilpqc.org</a:t>
            </a:r>
            <a:r>
              <a:rPr lang="en-US" dirty="0">
                <a:ea typeface="+mn-lt"/>
                <a:cs typeface="+mn-lt"/>
              </a:rPr>
              <a:t> if you have trouble logging in</a:t>
            </a:r>
            <a:endParaRPr lang="en-US" dirty="0"/>
          </a:p>
        </p:txBody>
      </p:sp>
      <p:sp>
        <p:nvSpPr>
          <p:cNvPr id="4" name="Slide Number Placeholder 3">
            <a:extLst>
              <a:ext uri="{FF2B5EF4-FFF2-40B4-BE49-F238E27FC236}">
                <a16:creationId xmlns:a16="http://schemas.microsoft.com/office/drawing/2014/main" id="{BE033C8B-1E41-C505-F657-EE8852D94223}"/>
              </a:ext>
            </a:extLst>
          </p:cNvPr>
          <p:cNvSpPr>
            <a:spLocks noGrp="1"/>
          </p:cNvSpPr>
          <p:nvPr>
            <p:ph type="sldNum" sz="quarter" idx="10"/>
          </p:nvPr>
        </p:nvSpPr>
        <p:spPr/>
        <p:txBody>
          <a:bodyPr/>
          <a:lstStyle/>
          <a:p>
            <a:fld id="{97033E4B-E3EB-3D46-B2D8-3159663620FA}" type="slidenum">
              <a:rPr lang="en-US" smtClean="0"/>
              <a:pPr/>
              <a:t>9</a:t>
            </a:fld>
            <a:endParaRPr lang="en-US"/>
          </a:p>
        </p:txBody>
      </p:sp>
      <p:sp>
        <p:nvSpPr>
          <p:cNvPr id="5" name="Footer Placeholder 4">
            <a:extLst>
              <a:ext uri="{FF2B5EF4-FFF2-40B4-BE49-F238E27FC236}">
                <a16:creationId xmlns:a16="http://schemas.microsoft.com/office/drawing/2014/main" id="{D9E7489A-6B31-34AB-0308-958CA05AC685}"/>
              </a:ext>
            </a:extLst>
          </p:cNvPr>
          <p:cNvSpPr>
            <a:spLocks noGrp="1"/>
          </p:cNvSpPr>
          <p:nvPr>
            <p:ph type="ftr" sz="quarter" idx="11"/>
          </p:nvPr>
        </p:nvSpPr>
        <p:spPr/>
        <p:txBody>
          <a:bodyPr/>
          <a:lstStyle/>
          <a:p>
            <a:pPr algn="l"/>
            <a:r>
              <a:rPr lang="en-US"/>
              <a:t>Illinois Perinatal Quality Collaborative</a:t>
            </a:r>
          </a:p>
        </p:txBody>
      </p:sp>
      <p:pic>
        <p:nvPicPr>
          <p:cNvPr id="6" name="Picture 5" descr="A person holding a baby&#10;&#10;Description automatically generated">
            <a:extLst>
              <a:ext uri="{FF2B5EF4-FFF2-40B4-BE49-F238E27FC236}">
                <a16:creationId xmlns:a16="http://schemas.microsoft.com/office/drawing/2014/main" id="{BD863734-3684-9CAB-7C57-2E74603A9287}"/>
              </a:ext>
            </a:extLst>
          </p:cNvPr>
          <p:cNvPicPr>
            <a:picLocks noChangeAspect="1"/>
          </p:cNvPicPr>
          <p:nvPr/>
        </p:nvPicPr>
        <p:blipFill>
          <a:blip r:embed="rId5"/>
          <a:stretch>
            <a:fillRect/>
          </a:stretch>
        </p:blipFill>
        <p:spPr>
          <a:xfrm>
            <a:off x="758096" y="3134264"/>
            <a:ext cx="4594185" cy="3177397"/>
          </a:xfrm>
          <a:prstGeom prst="rect">
            <a:avLst/>
          </a:prstGeom>
        </p:spPr>
      </p:pic>
      <p:sp>
        <p:nvSpPr>
          <p:cNvPr id="7" name="Oval 6">
            <a:extLst>
              <a:ext uri="{FF2B5EF4-FFF2-40B4-BE49-F238E27FC236}">
                <a16:creationId xmlns:a16="http://schemas.microsoft.com/office/drawing/2014/main" id="{A942DC6C-F66D-94F9-D985-9B736DF49FA2}"/>
              </a:ext>
            </a:extLst>
          </p:cNvPr>
          <p:cNvSpPr/>
          <p:nvPr/>
        </p:nvSpPr>
        <p:spPr>
          <a:xfrm>
            <a:off x="2671402" y="3827881"/>
            <a:ext cx="1365849" cy="704490"/>
          </a:xfrm>
          <a:prstGeom prst="ellipse">
            <a:avLst/>
          </a:prstGeom>
          <a:noFill/>
          <a:ln w="28575">
            <a:solidFill>
              <a:srgbClr val="FF0000"/>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Left 7">
            <a:extLst>
              <a:ext uri="{FF2B5EF4-FFF2-40B4-BE49-F238E27FC236}">
                <a16:creationId xmlns:a16="http://schemas.microsoft.com/office/drawing/2014/main" id="{D8C816BB-EE4A-48F8-6A8A-CBEBE799E5F6}"/>
              </a:ext>
            </a:extLst>
          </p:cNvPr>
          <p:cNvSpPr/>
          <p:nvPr/>
        </p:nvSpPr>
        <p:spPr>
          <a:xfrm>
            <a:off x="3913786" y="3929151"/>
            <a:ext cx="1538377" cy="488830"/>
          </a:xfrm>
          <a:prstGeom prst="leftArrow">
            <a:avLst/>
          </a:prstGeom>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0609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27</TotalTime>
  <Words>8249</Words>
  <Application>Microsoft Office PowerPoint</Application>
  <PresentationFormat>Widescreen</PresentationFormat>
  <Paragraphs>1192</Paragraphs>
  <Slides>40</Slides>
  <Notes>10</Notes>
  <HiddenSlides>0</HiddenSlides>
  <MMClips>0</MMClips>
  <ScaleCrop>false</ScaleCrop>
  <HeadingPairs>
    <vt:vector size="4" baseType="variant">
      <vt:variant>
        <vt:lpstr>Theme</vt:lpstr>
      </vt:variant>
      <vt:variant>
        <vt:i4>2</vt:i4>
      </vt:variant>
      <vt:variant>
        <vt:lpstr>Slide Titles</vt:lpstr>
      </vt:variant>
      <vt:variant>
        <vt:i4>40</vt:i4>
      </vt:variant>
    </vt:vector>
  </HeadingPairs>
  <TitlesOfParts>
    <vt:vector size="42" baseType="lpstr">
      <vt:lpstr>1_Office Theme</vt:lpstr>
      <vt:lpstr>2_Office Theme</vt:lpstr>
      <vt:lpstr>ESSI Initiative:  Data Training Webinar </vt:lpstr>
      <vt:lpstr>Data Call Overview</vt:lpstr>
      <vt:lpstr>Welcome Kiela! </vt:lpstr>
      <vt:lpstr>ILPQC Data System (REDCap)</vt:lpstr>
      <vt:lpstr>ILPQC Pillars Support QI Success</vt:lpstr>
      <vt:lpstr>Data is Yours!</vt:lpstr>
      <vt:lpstr>Accessing REDcap</vt:lpstr>
      <vt:lpstr>REDcap Access</vt:lpstr>
      <vt:lpstr>Key Steps when Accessing REDcap</vt:lpstr>
      <vt:lpstr>REDCap Interface Overview</vt:lpstr>
      <vt:lpstr>REDCap Interface Overview</vt:lpstr>
      <vt:lpstr>Participating in multiple ILPQC Initiatives?</vt:lpstr>
      <vt:lpstr>ILPQC ESSI DATA FORMS OVERVIEW</vt:lpstr>
      <vt:lpstr> Two ESSI Data Forms</vt:lpstr>
      <vt:lpstr>Structure Measures</vt:lpstr>
      <vt:lpstr>Structure Measures</vt:lpstr>
      <vt:lpstr>Hospital Level Data form: Structure Measures</vt:lpstr>
      <vt:lpstr>Hospital Level Data form: Structure Measures</vt:lpstr>
      <vt:lpstr>Hospital Level Data form: Structure Measures</vt:lpstr>
      <vt:lpstr>Hospital Level Data form: Structure Measures</vt:lpstr>
      <vt:lpstr>Hospital Level Data form: Structure Measures</vt:lpstr>
      <vt:lpstr>Hospital Level Data form: Structure Measures</vt:lpstr>
      <vt:lpstr>Hospital Level Data Form:  Safe Sleep Environment Audit</vt:lpstr>
      <vt:lpstr>Audit Forms</vt:lpstr>
      <vt:lpstr>Education Measures</vt:lpstr>
      <vt:lpstr>Patient Level Data Form</vt:lpstr>
      <vt:lpstr>Patient Level Data Form</vt:lpstr>
      <vt:lpstr>Patient Level Data Form</vt:lpstr>
      <vt:lpstr>Patient Level Data Form</vt:lpstr>
      <vt:lpstr>Patient Level Data Form</vt:lpstr>
      <vt:lpstr>ESSI Bundle</vt:lpstr>
      <vt:lpstr>Close Out and Save the Form</vt:lpstr>
      <vt:lpstr>Accessing Reports</vt:lpstr>
      <vt:lpstr>Data Collection Timelines</vt:lpstr>
      <vt:lpstr>Upcoming ESSI Meetings</vt:lpstr>
      <vt:lpstr>ESSI 2024 Plan: Jan-June</vt:lpstr>
      <vt:lpstr>What should my ESSI team be working on now?</vt:lpstr>
      <vt:lpstr>Feedback on the Data System</vt:lpstr>
      <vt:lpstr>Q&amp;A  Come off mute or put your questions in the cha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Perinatal Quality Collaborative</dc:title>
  <dc:creator>Todd Hilgert</dc:creator>
  <cp:lastModifiedBy>Eileen Fleming Suse</cp:lastModifiedBy>
  <cp:revision>1294</cp:revision>
  <dcterms:created xsi:type="dcterms:W3CDTF">2021-05-17T13:14:11Z</dcterms:created>
  <dcterms:modified xsi:type="dcterms:W3CDTF">2024-01-11T22:40:40Z</dcterms:modified>
</cp:coreProperties>
</file>